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notesSlides/notesSlide4.xml" ContentType="application/vnd.openxmlformats-officedocument.presentationml.notesSlide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5.xml" ContentType="application/vnd.openxmlformats-officedocument.presentationml.notesSlide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theme/themeOverride1.xml" ContentType="application/vnd.openxmlformats-officedocument.themeOverride+xml"/>
  <Override PartName="/ppt/charts/chart8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9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  <p:sldMasterId id="2147483709" r:id="rId5"/>
  </p:sldMasterIdLst>
  <p:notesMasterIdLst>
    <p:notesMasterId r:id="rId24"/>
  </p:notesMasterIdLst>
  <p:handoutMasterIdLst>
    <p:handoutMasterId r:id="rId25"/>
  </p:handoutMasterIdLst>
  <p:sldIdLst>
    <p:sldId id="1063" r:id="rId6"/>
    <p:sldId id="1117" r:id="rId7"/>
    <p:sldId id="2076137431" r:id="rId8"/>
    <p:sldId id="1118" r:id="rId9"/>
    <p:sldId id="1046" r:id="rId10"/>
    <p:sldId id="1104" r:id="rId11"/>
    <p:sldId id="271" r:id="rId12"/>
    <p:sldId id="2076137432" r:id="rId13"/>
    <p:sldId id="363" r:id="rId14"/>
    <p:sldId id="1067" r:id="rId15"/>
    <p:sldId id="2076137433" r:id="rId16"/>
    <p:sldId id="1065" r:id="rId17"/>
    <p:sldId id="2076137435" r:id="rId18"/>
    <p:sldId id="258" r:id="rId19"/>
    <p:sldId id="2076137436" r:id="rId20"/>
    <p:sldId id="356" r:id="rId21"/>
    <p:sldId id="2076137437" r:id="rId22"/>
    <p:sldId id="1126" r:id="rId23"/>
  </p:sldIdLst>
  <p:sldSz cx="9144000" cy="5143500" type="screen16x9"/>
  <p:notesSz cx="6797675" cy="9926638"/>
  <p:defaultTextStyle>
    <a:defPPr>
      <a:defRPr lang="fi-FI"/>
    </a:defPPr>
    <a:lvl1pPr marL="0" algn="l" defTabSz="679871" rtl="0" eaLnBrk="1" latinLnBrk="0" hangingPunct="1">
      <a:defRPr sz="1340" kern="1200">
        <a:solidFill>
          <a:schemeClr val="tx1"/>
        </a:solidFill>
        <a:latin typeface="+mn-lt"/>
        <a:ea typeface="+mn-ea"/>
        <a:cs typeface="+mn-cs"/>
      </a:defRPr>
    </a:lvl1pPr>
    <a:lvl2pPr marL="339932" algn="l" defTabSz="679871" rtl="0" eaLnBrk="1" latinLnBrk="0" hangingPunct="1">
      <a:defRPr sz="1340" kern="1200">
        <a:solidFill>
          <a:schemeClr val="tx1"/>
        </a:solidFill>
        <a:latin typeface="+mn-lt"/>
        <a:ea typeface="+mn-ea"/>
        <a:cs typeface="+mn-cs"/>
      </a:defRPr>
    </a:lvl2pPr>
    <a:lvl3pPr marL="679871" algn="l" defTabSz="679871" rtl="0" eaLnBrk="1" latinLnBrk="0" hangingPunct="1">
      <a:defRPr sz="1340" kern="1200">
        <a:solidFill>
          <a:schemeClr val="tx1"/>
        </a:solidFill>
        <a:latin typeface="+mn-lt"/>
        <a:ea typeface="+mn-ea"/>
        <a:cs typeface="+mn-cs"/>
      </a:defRPr>
    </a:lvl3pPr>
    <a:lvl4pPr marL="1019807" algn="l" defTabSz="679871" rtl="0" eaLnBrk="1" latinLnBrk="0" hangingPunct="1">
      <a:defRPr sz="1340" kern="1200">
        <a:solidFill>
          <a:schemeClr val="tx1"/>
        </a:solidFill>
        <a:latin typeface="+mn-lt"/>
        <a:ea typeface="+mn-ea"/>
        <a:cs typeface="+mn-cs"/>
      </a:defRPr>
    </a:lvl4pPr>
    <a:lvl5pPr marL="1359744" algn="l" defTabSz="679871" rtl="0" eaLnBrk="1" latinLnBrk="0" hangingPunct="1">
      <a:defRPr sz="1340" kern="1200">
        <a:solidFill>
          <a:schemeClr val="tx1"/>
        </a:solidFill>
        <a:latin typeface="+mn-lt"/>
        <a:ea typeface="+mn-ea"/>
        <a:cs typeface="+mn-cs"/>
      </a:defRPr>
    </a:lvl5pPr>
    <a:lvl6pPr marL="1699681" algn="l" defTabSz="679871" rtl="0" eaLnBrk="1" latinLnBrk="0" hangingPunct="1">
      <a:defRPr sz="1340" kern="1200">
        <a:solidFill>
          <a:schemeClr val="tx1"/>
        </a:solidFill>
        <a:latin typeface="+mn-lt"/>
        <a:ea typeface="+mn-ea"/>
        <a:cs typeface="+mn-cs"/>
      </a:defRPr>
    </a:lvl6pPr>
    <a:lvl7pPr marL="2039614" algn="l" defTabSz="679871" rtl="0" eaLnBrk="1" latinLnBrk="0" hangingPunct="1">
      <a:defRPr sz="1340" kern="1200">
        <a:solidFill>
          <a:schemeClr val="tx1"/>
        </a:solidFill>
        <a:latin typeface="+mn-lt"/>
        <a:ea typeface="+mn-ea"/>
        <a:cs typeface="+mn-cs"/>
      </a:defRPr>
    </a:lvl7pPr>
    <a:lvl8pPr marL="2379548" algn="l" defTabSz="679871" rtl="0" eaLnBrk="1" latinLnBrk="0" hangingPunct="1">
      <a:defRPr sz="1340" kern="1200">
        <a:solidFill>
          <a:schemeClr val="tx1"/>
        </a:solidFill>
        <a:latin typeface="+mn-lt"/>
        <a:ea typeface="+mn-ea"/>
        <a:cs typeface="+mn-cs"/>
      </a:defRPr>
    </a:lvl8pPr>
    <a:lvl9pPr marL="2719486" algn="l" defTabSz="679871" rtl="0" eaLnBrk="1" latinLnBrk="0" hangingPunct="1">
      <a:defRPr sz="134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aukonen Sini" initials="KS" lastIdx="7" clrIdx="0">
    <p:extLst>
      <p:ext uri="{19B8F6BF-5375-455C-9EA6-DF929625EA0E}">
        <p15:presenceInfo xmlns:p15="http://schemas.microsoft.com/office/powerpoint/2012/main" userId="S-1-5-21-1871869801-2214748161-1963216912-121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2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333333"/>
    <a:srgbClr val="FFFF00"/>
    <a:srgbClr val="85E869"/>
    <a:srgbClr val="FF805C"/>
    <a:srgbClr val="FF00B8"/>
    <a:srgbClr val="8A0FA6"/>
    <a:srgbClr val="141F94"/>
    <a:srgbClr val="0F78B2"/>
    <a:srgbClr val="0ACFC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F5AB1C69-6EDB-4FF4-983F-18BD219EF322}" styleName="Normaali tyyli 2 - Korostus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Normaali tyyli 2 - Korostus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C22544A-7EE6-4342-B048-85BDC9FD1C3A}" styleName="Normaali tyyli 2 - Korostu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Normaali tyyli 2 - Korostus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212" autoAdjust="0"/>
    <p:restoredTop sz="86016" autoAdjust="0"/>
  </p:normalViewPr>
  <p:slideViewPr>
    <p:cSldViewPr showGuides="1">
      <p:cViewPr varScale="1">
        <p:scale>
          <a:sx n="135" d="100"/>
          <a:sy n="135" d="100"/>
        </p:scale>
        <p:origin x="120" y="918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>
      <p:cViewPr varScale="1">
        <p:scale>
          <a:sx n="82" d="100"/>
          <a:sy n="82" d="100"/>
        </p:scale>
        <p:origin x="3972" y="84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autaporras Petteri" userId="d9004aa4-7491-43fa-b04f-4f6e300df2fa" providerId="ADAL" clId="{8F242647-212A-466A-AA1E-CA9003D6AA23}"/>
    <pc:docChg chg="custSel modSld">
      <pc:chgData name="Rautaporras Petteri" userId="d9004aa4-7491-43fa-b04f-4f6e300df2fa" providerId="ADAL" clId="{8F242647-212A-466A-AA1E-CA9003D6AA23}" dt="2021-02-04T08:42:59.175" v="450" actId="27918"/>
      <pc:docMkLst>
        <pc:docMk/>
      </pc:docMkLst>
      <pc:sldChg chg="mod">
        <pc:chgData name="Rautaporras Petteri" userId="d9004aa4-7491-43fa-b04f-4f6e300df2fa" providerId="ADAL" clId="{8F242647-212A-466A-AA1E-CA9003D6AA23}" dt="2021-02-02T21:22:42.485" v="52" actId="27918"/>
        <pc:sldMkLst>
          <pc:docMk/>
          <pc:sldMk cId="3461487886" sldId="1065"/>
        </pc:sldMkLst>
      </pc:sldChg>
      <pc:sldChg chg="modSp mod">
        <pc:chgData name="Rautaporras Petteri" userId="d9004aa4-7491-43fa-b04f-4f6e300df2fa" providerId="ADAL" clId="{8F242647-212A-466A-AA1E-CA9003D6AA23}" dt="2021-02-03T07:43:33.274" v="423" actId="20577"/>
        <pc:sldMkLst>
          <pc:docMk/>
          <pc:sldMk cId="929075840" sldId="1075"/>
        </pc:sldMkLst>
        <pc:spChg chg="mod">
          <ac:chgData name="Rautaporras Petteri" userId="d9004aa4-7491-43fa-b04f-4f6e300df2fa" providerId="ADAL" clId="{8F242647-212A-466A-AA1E-CA9003D6AA23}" dt="2021-02-03T07:43:33.274" v="423" actId="20577"/>
          <ac:spMkLst>
            <pc:docMk/>
            <pc:sldMk cId="929075840" sldId="1075"/>
            <ac:spMk id="2" creationId="{40907C84-4663-4DC6-B126-256840B87413}"/>
          </ac:spMkLst>
        </pc:spChg>
      </pc:sldChg>
      <pc:sldChg chg="modSp mod">
        <pc:chgData name="Rautaporras Petteri" userId="d9004aa4-7491-43fa-b04f-4f6e300df2fa" providerId="ADAL" clId="{8F242647-212A-466A-AA1E-CA9003D6AA23}" dt="2021-02-03T07:43:28.482" v="422" actId="20577"/>
        <pc:sldMkLst>
          <pc:docMk/>
          <pc:sldMk cId="3128374377" sldId="1076"/>
        </pc:sldMkLst>
        <pc:spChg chg="mod">
          <ac:chgData name="Rautaporras Petteri" userId="d9004aa4-7491-43fa-b04f-4f6e300df2fa" providerId="ADAL" clId="{8F242647-212A-466A-AA1E-CA9003D6AA23}" dt="2021-02-03T07:43:28.482" v="422" actId="20577"/>
          <ac:spMkLst>
            <pc:docMk/>
            <pc:sldMk cId="3128374377" sldId="1076"/>
            <ac:spMk id="2" creationId="{E434BD08-68AA-49E7-8874-B33FEC000256}"/>
          </ac:spMkLst>
        </pc:spChg>
      </pc:sldChg>
      <pc:sldChg chg="modSp mod">
        <pc:chgData name="Rautaporras Petteri" userId="d9004aa4-7491-43fa-b04f-4f6e300df2fa" providerId="ADAL" clId="{8F242647-212A-466A-AA1E-CA9003D6AA23}" dt="2021-02-03T07:50:57.680" v="441" actId="20577"/>
        <pc:sldMkLst>
          <pc:docMk/>
          <pc:sldMk cId="2573167509" sldId="1104"/>
        </pc:sldMkLst>
        <pc:spChg chg="mod">
          <ac:chgData name="Rautaporras Petteri" userId="d9004aa4-7491-43fa-b04f-4f6e300df2fa" providerId="ADAL" clId="{8F242647-212A-466A-AA1E-CA9003D6AA23}" dt="2021-02-03T07:50:57.680" v="441" actId="20577"/>
          <ac:spMkLst>
            <pc:docMk/>
            <pc:sldMk cId="2573167509" sldId="1104"/>
            <ac:spMk id="2" creationId="{4BB0440D-C81A-46A2-A992-15D38EB5099C}"/>
          </ac:spMkLst>
        </pc:spChg>
      </pc:sldChg>
      <pc:sldChg chg="modSp mod">
        <pc:chgData name="Rautaporras Petteri" userId="d9004aa4-7491-43fa-b04f-4f6e300df2fa" providerId="ADAL" clId="{8F242647-212A-466A-AA1E-CA9003D6AA23}" dt="2021-02-02T21:19:07.930" v="4" actId="20577"/>
        <pc:sldMkLst>
          <pc:docMk/>
          <pc:sldMk cId="2272776827" sldId="1117"/>
        </pc:sldMkLst>
        <pc:spChg chg="mod">
          <ac:chgData name="Rautaporras Petteri" userId="d9004aa4-7491-43fa-b04f-4f6e300df2fa" providerId="ADAL" clId="{8F242647-212A-466A-AA1E-CA9003D6AA23}" dt="2021-02-02T21:19:07.930" v="4" actId="20577"/>
          <ac:spMkLst>
            <pc:docMk/>
            <pc:sldMk cId="2272776827" sldId="1117"/>
            <ac:spMk id="2" creationId="{25165083-82DB-4E44-8B62-0436D46FE3CA}"/>
          </ac:spMkLst>
        </pc:spChg>
      </pc:sldChg>
      <pc:sldChg chg="mod">
        <pc:chgData name="Rautaporras Petteri" userId="d9004aa4-7491-43fa-b04f-4f6e300df2fa" providerId="ADAL" clId="{8F242647-212A-466A-AA1E-CA9003D6AA23}" dt="2021-02-04T08:42:59.175" v="450" actId="27918"/>
        <pc:sldMkLst>
          <pc:docMk/>
          <pc:sldMk cId="1038765052" sldId="1123"/>
        </pc:sldMkLst>
      </pc:sldChg>
      <pc:sldChg chg="modSp mod">
        <pc:chgData name="Rautaporras Petteri" userId="d9004aa4-7491-43fa-b04f-4f6e300df2fa" providerId="ADAL" clId="{8F242647-212A-466A-AA1E-CA9003D6AA23}" dt="2021-02-03T07:49:09.122" v="440" actId="20577"/>
        <pc:sldMkLst>
          <pc:docMk/>
          <pc:sldMk cId="3970922604" sldId="1126"/>
        </pc:sldMkLst>
        <pc:spChg chg="mod">
          <ac:chgData name="Rautaporras Petteri" userId="d9004aa4-7491-43fa-b04f-4f6e300df2fa" providerId="ADAL" clId="{8F242647-212A-466A-AA1E-CA9003D6AA23}" dt="2021-02-03T07:49:09.122" v="440" actId="20577"/>
          <ac:spMkLst>
            <pc:docMk/>
            <pc:sldMk cId="3970922604" sldId="1126"/>
            <ac:spMk id="6" creationId="{438E4283-469C-4E61-9967-BB1E108BD8A6}"/>
          </ac:spMkLst>
        </pc:spChg>
      </pc:sldChg>
      <pc:sldChg chg="addSp delSp modSp mod">
        <pc:chgData name="Rautaporras Petteri" userId="d9004aa4-7491-43fa-b04f-4f6e300df2fa" providerId="ADAL" clId="{8F242647-212A-466A-AA1E-CA9003D6AA23}" dt="2021-02-04T07:16:03.808" v="446" actId="1076"/>
        <pc:sldMkLst>
          <pc:docMk/>
          <pc:sldMk cId="1005875025" sldId="2076137431"/>
        </pc:sldMkLst>
        <pc:picChg chg="add mod">
          <ac:chgData name="Rautaporras Petteri" userId="d9004aa4-7491-43fa-b04f-4f6e300df2fa" providerId="ADAL" clId="{8F242647-212A-466A-AA1E-CA9003D6AA23}" dt="2021-02-04T07:16:03.808" v="446" actId="1076"/>
          <ac:picMkLst>
            <pc:docMk/>
            <pc:sldMk cId="1005875025" sldId="2076137431"/>
            <ac:picMk id="8" creationId="{59382AD7-337A-46FD-BF8C-31C8662EEECB}"/>
          </ac:picMkLst>
        </pc:picChg>
        <pc:picChg chg="del">
          <ac:chgData name="Rautaporras Petteri" userId="d9004aa4-7491-43fa-b04f-4f6e300df2fa" providerId="ADAL" clId="{8F242647-212A-466A-AA1E-CA9003D6AA23}" dt="2021-02-04T07:15:55.371" v="442" actId="478"/>
          <ac:picMkLst>
            <pc:docMk/>
            <pc:sldMk cId="1005875025" sldId="2076137431"/>
            <ac:picMk id="9" creationId="{58679CF2-5FFA-4479-8381-24ADAA3A2147}"/>
          </ac:picMkLst>
        </pc:picChg>
      </pc:sldChg>
    </pc:docChg>
  </pc:docChgLst>
  <pc:docChgLst>
    <pc:chgData name="Rautaporras Petteri" userId="d9004aa4-7491-43fa-b04f-4f6e300df2fa" providerId="ADAL" clId="{DE362A46-FCCA-4B04-BECA-B95882F25295}"/>
    <pc:docChg chg="undo custSel addSld delSld modSld sldOrd">
      <pc:chgData name="Rautaporras Petteri" userId="d9004aa4-7491-43fa-b04f-4f6e300df2fa" providerId="ADAL" clId="{DE362A46-FCCA-4B04-BECA-B95882F25295}" dt="2021-02-02T13:54:24.872" v="750"/>
      <pc:docMkLst>
        <pc:docMk/>
      </pc:docMkLst>
      <pc:sldChg chg="modSp del">
        <pc:chgData name="Rautaporras Petteri" userId="d9004aa4-7491-43fa-b04f-4f6e300df2fa" providerId="ADAL" clId="{DE362A46-FCCA-4B04-BECA-B95882F25295}" dt="2021-02-02T12:50:30.148" v="232" actId="47"/>
        <pc:sldMkLst>
          <pc:docMk/>
          <pc:sldMk cId="2510371092" sldId="266"/>
        </pc:sldMkLst>
        <pc:graphicFrameChg chg="mod">
          <ac:chgData name="Rautaporras Petteri" userId="d9004aa4-7491-43fa-b04f-4f6e300df2fa" providerId="ADAL" clId="{DE362A46-FCCA-4B04-BECA-B95882F25295}" dt="2021-02-02T12:46:22.062" v="125"/>
          <ac:graphicFrameMkLst>
            <pc:docMk/>
            <pc:sldMk cId="2510371092" sldId="266"/>
            <ac:graphicFrameMk id="11" creationId="{3A4DDF37-D261-416F-B789-60D7BE706FAC}"/>
          </ac:graphicFrameMkLst>
        </pc:graphicFrameChg>
      </pc:sldChg>
      <pc:sldChg chg="modSp">
        <pc:chgData name="Rautaporras Petteri" userId="d9004aa4-7491-43fa-b04f-4f6e300df2fa" providerId="ADAL" clId="{DE362A46-FCCA-4B04-BECA-B95882F25295}" dt="2021-02-02T13:29:10.346" v="268"/>
        <pc:sldMkLst>
          <pc:docMk/>
          <pc:sldMk cId="2114849149" sldId="271"/>
        </pc:sldMkLst>
        <pc:graphicFrameChg chg="mod">
          <ac:chgData name="Rautaporras Petteri" userId="d9004aa4-7491-43fa-b04f-4f6e300df2fa" providerId="ADAL" clId="{DE362A46-FCCA-4B04-BECA-B95882F25295}" dt="2021-02-02T13:29:10.346" v="268"/>
          <ac:graphicFrameMkLst>
            <pc:docMk/>
            <pc:sldMk cId="2114849149" sldId="271"/>
            <ac:graphicFrameMk id="9" creationId="{00000000-0000-0000-0000-000000000000}"/>
          </ac:graphicFrameMkLst>
        </pc:graphicFrameChg>
      </pc:sldChg>
      <pc:sldChg chg="modSp del">
        <pc:chgData name="Rautaporras Petteri" userId="d9004aa4-7491-43fa-b04f-4f6e300df2fa" providerId="ADAL" clId="{DE362A46-FCCA-4B04-BECA-B95882F25295}" dt="2021-02-02T12:50:38.190" v="233" actId="47"/>
        <pc:sldMkLst>
          <pc:docMk/>
          <pc:sldMk cId="299574909" sldId="272"/>
        </pc:sldMkLst>
        <pc:graphicFrameChg chg="mod">
          <ac:chgData name="Rautaporras Petteri" userId="d9004aa4-7491-43fa-b04f-4f6e300df2fa" providerId="ADAL" clId="{DE362A46-FCCA-4B04-BECA-B95882F25295}" dt="2021-02-02T12:46:23.087" v="127"/>
          <ac:graphicFrameMkLst>
            <pc:docMk/>
            <pc:sldMk cId="299574909" sldId="272"/>
            <ac:graphicFrameMk id="12" creationId="{00000000-0000-0000-0000-000000000000}"/>
          </ac:graphicFrameMkLst>
        </pc:graphicFrameChg>
      </pc:sldChg>
      <pc:sldChg chg="modSp">
        <pc:chgData name="Rautaporras Petteri" userId="d9004aa4-7491-43fa-b04f-4f6e300df2fa" providerId="ADAL" clId="{DE362A46-FCCA-4B04-BECA-B95882F25295}" dt="2021-02-02T13:29:10.341" v="267"/>
        <pc:sldMkLst>
          <pc:docMk/>
          <pc:sldMk cId="234392101" sldId="283"/>
        </pc:sldMkLst>
        <pc:graphicFrameChg chg="mod">
          <ac:chgData name="Rautaporras Petteri" userId="d9004aa4-7491-43fa-b04f-4f6e300df2fa" providerId="ADAL" clId="{DE362A46-FCCA-4B04-BECA-B95882F25295}" dt="2021-02-02T13:29:10.341" v="267"/>
          <ac:graphicFrameMkLst>
            <pc:docMk/>
            <pc:sldMk cId="234392101" sldId="283"/>
            <ac:graphicFrameMk id="18" creationId="{5C0EBE92-AFAE-40A8-9E3C-F54339200160}"/>
          </ac:graphicFrameMkLst>
        </pc:graphicFrameChg>
      </pc:sldChg>
      <pc:sldChg chg="add del">
        <pc:chgData name="Rautaporras Petteri" userId="d9004aa4-7491-43fa-b04f-4f6e300df2fa" providerId="ADAL" clId="{DE362A46-FCCA-4B04-BECA-B95882F25295}" dt="2021-02-02T13:32:20.034" v="363" actId="47"/>
        <pc:sldMkLst>
          <pc:docMk/>
          <pc:sldMk cId="1883353922" sldId="1049"/>
        </pc:sldMkLst>
      </pc:sldChg>
      <pc:sldChg chg="add">
        <pc:chgData name="Rautaporras Petteri" userId="d9004aa4-7491-43fa-b04f-4f6e300df2fa" providerId="ADAL" clId="{DE362A46-FCCA-4B04-BECA-B95882F25295}" dt="2021-02-02T13:31:51.719" v="358"/>
        <pc:sldMkLst>
          <pc:docMk/>
          <pc:sldMk cId="1255078131" sldId="1051"/>
        </pc:sldMkLst>
      </pc:sldChg>
      <pc:sldChg chg="add del">
        <pc:chgData name="Rautaporras Petteri" userId="d9004aa4-7491-43fa-b04f-4f6e300df2fa" providerId="ADAL" clId="{DE362A46-FCCA-4B04-BECA-B95882F25295}" dt="2021-02-02T13:32:01.241" v="359" actId="47"/>
        <pc:sldMkLst>
          <pc:docMk/>
          <pc:sldMk cId="2419185632" sldId="1052"/>
        </pc:sldMkLst>
      </pc:sldChg>
      <pc:sldChg chg="add del">
        <pc:chgData name="Rautaporras Petteri" userId="d9004aa4-7491-43fa-b04f-4f6e300df2fa" providerId="ADAL" clId="{DE362A46-FCCA-4B04-BECA-B95882F25295}" dt="2021-02-02T13:32:02.280" v="360" actId="47"/>
        <pc:sldMkLst>
          <pc:docMk/>
          <pc:sldMk cId="1883107858" sldId="1053"/>
        </pc:sldMkLst>
      </pc:sldChg>
      <pc:sldChg chg="add ord">
        <pc:chgData name="Rautaporras Petteri" userId="d9004aa4-7491-43fa-b04f-4f6e300df2fa" providerId="ADAL" clId="{DE362A46-FCCA-4B04-BECA-B95882F25295}" dt="2021-02-02T13:32:10.408" v="362"/>
        <pc:sldMkLst>
          <pc:docMk/>
          <pc:sldMk cId="1680971455" sldId="1054"/>
        </pc:sldMkLst>
      </pc:sldChg>
      <pc:sldChg chg="add del">
        <pc:chgData name="Rautaporras Petteri" userId="d9004aa4-7491-43fa-b04f-4f6e300df2fa" providerId="ADAL" clId="{DE362A46-FCCA-4B04-BECA-B95882F25295}" dt="2021-02-02T13:32:23.857" v="364" actId="47"/>
        <pc:sldMkLst>
          <pc:docMk/>
          <pc:sldMk cId="2199243574" sldId="1055"/>
        </pc:sldMkLst>
      </pc:sldChg>
      <pc:sldChg chg="modSp mod">
        <pc:chgData name="Rautaporras Petteri" userId="d9004aa4-7491-43fa-b04f-4f6e300df2fa" providerId="ADAL" clId="{DE362A46-FCCA-4B04-BECA-B95882F25295}" dt="2021-02-02T12:42:07.042" v="4" actId="20577"/>
        <pc:sldMkLst>
          <pc:docMk/>
          <pc:sldMk cId="3607371377" sldId="1063"/>
        </pc:sldMkLst>
        <pc:spChg chg="mod">
          <ac:chgData name="Rautaporras Petteri" userId="d9004aa4-7491-43fa-b04f-4f6e300df2fa" providerId="ADAL" clId="{DE362A46-FCCA-4B04-BECA-B95882F25295}" dt="2021-02-02T12:42:07.042" v="4" actId="20577"/>
          <ac:spMkLst>
            <pc:docMk/>
            <pc:sldMk cId="3607371377" sldId="1063"/>
            <ac:spMk id="2" creationId="{50FC3B40-AC30-46E2-BCAD-E388935D70C2}"/>
          </ac:spMkLst>
        </pc:spChg>
      </pc:sldChg>
      <pc:sldChg chg="add">
        <pc:chgData name="Rautaporras Petteri" userId="d9004aa4-7491-43fa-b04f-4f6e300df2fa" providerId="ADAL" clId="{DE362A46-FCCA-4B04-BECA-B95882F25295}" dt="2021-02-02T13:31:51.719" v="358"/>
        <pc:sldMkLst>
          <pc:docMk/>
          <pc:sldMk cId="3461487886" sldId="1065"/>
        </pc:sldMkLst>
      </pc:sldChg>
      <pc:sldChg chg="add">
        <pc:chgData name="Rautaporras Petteri" userId="d9004aa4-7491-43fa-b04f-4f6e300df2fa" providerId="ADAL" clId="{DE362A46-FCCA-4B04-BECA-B95882F25295}" dt="2021-02-02T13:31:51.719" v="358"/>
        <pc:sldMkLst>
          <pc:docMk/>
          <pc:sldMk cId="3926641037" sldId="1068"/>
        </pc:sldMkLst>
      </pc:sldChg>
      <pc:sldChg chg="add">
        <pc:chgData name="Rautaporras Petteri" userId="d9004aa4-7491-43fa-b04f-4f6e300df2fa" providerId="ADAL" clId="{DE362A46-FCCA-4B04-BECA-B95882F25295}" dt="2021-02-02T13:54:24.872" v="750"/>
        <pc:sldMkLst>
          <pc:docMk/>
          <pc:sldMk cId="929075840" sldId="1075"/>
        </pc:sldMkLst>
      </pc:sldChg>
      <pc:sldChg chg="add">
        <pc:chgData name="Rautaporras Petteri" userId="d9004aa4-7491-43fa-b04f-4f6e300df2fa" providerId="ADAL" clId="{DE362A46-FCCA-4B04-BECA-B95882F25295}" dt="2021-02-02T13:54:24.872" v="750"/>
        <pc:sldMkLst>
          <pc:docMk/>
          <pc:sldMk cId="3128374377" sldId="1076"/>
        </pc:sldMkLst>
      </pc:sldChg>
      <pc:sldChg chg="delSp modSp mod">
        <pc:chgData name="Rautaporras Petteri" userId="d9004aa4-7491-43fa-b04f-4f6e300df2fa" providerId="ADAL" clId="{DE362A46-FCCA-4B04-BECA-B95882F25295}" dt="2021-02-02T12:45:46.708" v="115" actId="20577"/>
        <pc:sldMkLst>
          <pc:docMk/>
          <pc:sldMk cId="2573167509" sldId="1104"/>
        </pc:sldMkLst>
        <pc:spChg chg="mod">
          <ac:chgData name="Rautaporras Petteri" userId="d9004aa4-7491-43fa-b04f-4f6e300df2fa" providerId="ADAL" clId="{DE362A46-FCCA-4B04-BECA-B95882F25295}" dt="2021-02-02T12:45:46.708" v="115" actId="20577"/>
          <ac:spMkLst>
            <pc:docMk/>
            <pc:sldMk cId="2573167509" sldId="1104"/>
            <ac:spMk id="2" creationId="{4BB0440D-C81A-46A2-A992-15D38EB5099C}"/>
          </ac:spMkLst>
        </pc:spChg>
        <pc:spChg chg="del mod">
          <ac:chgData name="Rautaporras Petteri" userId="d9004aa4-7491-43fa-b04f-4f6e300df2fa" providerId="ADAL" clId="{DE362A46-FCCA-4B04-BECA-B95882F25295}" dt="2021-02-02T12:44:32.492" v="53" actId="478"/>
          <ac:spMkLst>
            <pc:docMk/>
            <pc:sldMk cId="2573167509" sldId="1104"/>
            <ac:spMk id="6" creationId="{01E05333-9BB3-4F34-A84F-F04B9AA04BD6}"/>
          </ac:spMkLst>
        </pc:spChg>
      </pc:sldChg>
      <pc:sldChg chg="modSp mod">
        <pc:chgData name="Rautaporras Petteri" userId="d9004aa4-7491-43fa-b04f-4f6e300df2fa" providerId="ADAL" clId="{DE362A46-FCCA-4B04-BECA-B95882F25295}" dt="2021-02-02T12:43:13.419" v="32" actId="20577"/>
        <pc:sldMkLst>
          <pc:docMk/>
          <pc:sldMk cId="2272776827" sldId="1117"/>
        </pc:sldMkLst>
        <pc:spChg chg="mod">
          <ac:chgData name="Rautaporras Petteri" userId="d9004aa4-7491-43fa-b04f-4f6e300df2fa" providerId="ADAL" clId="{DE362A46-FCCA-4B04-BECA-B95882F25295}" dt="2021-02-02T12:43:13.419" v="32" actId="20577"/>
          <ac:spMkLst>
            <pc:docMk/>
            <pc:sldMk cId="2272776827" sldId="1117"/>
            <ac:spMk id="2" creationId="{25165083-82DB-4E44-8B62-0436D46FE3CA}"/>
          </ac:spMkLst>
        </pc:spChg>
      </pc:sldChg>
      <pc:sldChg chg="addSp delSp modSp mod">
        <pc:chgData name="Rautaporras Petteri" userId="d9004aa4-7491-43fa-b04f-4f6e300df2fa" providerId="ADAL" clId="{DE362A46-FCCA-4B04-BECA-B95882F25295}" dt="2021-02-02T13:29:10.335" v="265"/>
        <pc:sldMkLst>
          <pc:docMk/>
          <pc:sldMk cId="3588709971" sldId="1118"/>
        </pc:sldMkLst>
        <pc:spChg chg="del mod">
          <ac:chgData name="Rautaporras Petteri" userId="d9004aa4-7491-43fa-b04f-4f6e300df2fa" providerId="ADAL" clId="{DE362A46-FCCA-4B04-BECA-B95882F25295}" dt="2021-02-02T12:44:05.866" v="49" actId="478"/>
          <ac:spMkLst>
            <pc:docMk/>
            <pc:sldMk cId="3588709971" sldId="1118"/>
            <ac:spMk id="2" creationId="{10D60A89-2036-4328-B2B7-88F906F1B4CB}"/>
          </ac:spMkLst>
        </pc:spChg>
        <pc:spChg chg="add mod">
          <ac:chgData name="Rautaporras Petteri" userId="d9004aa4-7491-43fa-b04f-4f6e300df2fa" providerId="ADAL" clId="{DE362A46-FCCA-4B04-BECA-B95882F25295}" dt="2021-02-02T12:44:08.445" v="51" actId="20577"/>
          <ac:spMkLst>
            <pc:docMk/>
            <pc:sldMk cId="3588709971" sldId="1118"/>
            <ac:spMk id="10" creationId="{791C78E0-00E0-43A3-BD0C-8AECB56CA32F}"/>
          </ac:spMkLst>
        </pc:spChg>
        <pc:graphicFrameChg chg="mod">
          <ac:chgData name="Rautaporras Petteri" userId="d9004aa4-7491-43fa-b04f-4f6e300df2fa" providerId="ADAL" clId="{DE362A46-FCCA-4B04-BECA-B95882F25295}" dt="2021-02-02T13:29:10.335" v="265"/>
          <ac:graphicFrameMkLst>
            <pc:docMk/>
            <pc:sldMk cId="3588709971" sldId="1118"/>
            <ac:graphicFrameMk id="9" creationId="{77D08159-59A8-4D26-8835-EADDC01FB2C4}"/>
          </ac:graphicFrameMkLst>
        </pc:graphicFrameChg>
      </pc:sldChg>
      <pc:sldChg chg="modSp mod">
        <pc:chgData name="Rautaporras Petteri" userId="d9004aa4-7491-43fa-b04f-4f6e300df2fa" providerId="ADAL" clId="{DE362A46-FCCA-4B04-BECA-B95882F25295}" dt="2021-02-02T13:29:10.338" v="266"/>
        <pc:sldMkLst>
          <pc:docMk/>
          <pc:sldMk cId="37404522" sldId="1119"/>
        </pc:sldMkLst>
        <pc:spChg chg="mod">
          <ac:chgData name="Rautaporras Petteri" userId="d9004aa4-7491-43fa-b04f-4f6e300df2fa" providerId="ADAL" clId="{DE362A46-FCCA-4B04-BECA-B95882F25295}" dt="2021-02-02T12:50:13.686" v="231" actId="20577"/>
          <ac:spMkLst>
            <pc:docMk/>
            <pc:sldMk cId="37404522" sldId="1119"/>
            <ac:spMk id="2" creationId="{00000000-0000-0000-0000-000000000000}"/>
          </ac:spMkLst>
        </pc:spChg>
        <pc:graphicFrameChg chg="mod">
          <ac:chgData name="Rautaporras Petteri" userId="d9004aa4-7491-43fa-b04f-4f6e300df2fa" providerId="ADAL" clId="{DE362A46-FCCA-4B04-BECA-B95882F25295}" dt="2021-02-02T13:29:10.338" v="266"/>
          <ac:graphicFrameMkLst>
            <pc:docMk/>
            <pc:sldMk cId="37404522" sldId="1119"/>
            <ac:graphicFrameMk id="6" creationId="{9B48671E-2E56-4727-B509-A9FA651C54DA}"/>
          </ac:graphicFrameMkLst>
        </pc:graphicFrameChg>
      </pc:sldChg>
      <pc:sldChg chg="modSp mod">
        <pc:chgData name="Rautaporras Petteri" userId="d9004aa4-7491-43fa-b04f-4f6e300df2fa" providerId="ADAL" clId="{DE362A46-FCCA-4B04-BECA-B95882F25295}" dt="2021-02-02T13:30:55.629" v="357" actId="27918"/>
        <pc:sldMkLst>
          <pc:docMk/>
          <pc:sldMk cId="2832050897" sldId="1124"/>
        </pc:sldMkLst>
        <pc:spChg chg="mod">
          <ac:chgData name="Rautaporras Petteri" userId="d9004aa4-7491-43fa-b04f-4f6e300df2fa" providerId="ADAL" clId="{DE362A46-FCCA-4B04-BECA-B95882F25295}" dt="2021-02-02T13:30:23.617" v="350" actId="1076"/>
          <ac:spMkLst>
            <pc:docMk/>
            <pc:sldMk cId="2832050897" sldId="1124"/>
            <ac:spMk id="6" creationId="{45D50DC8-ABBB-41E5-ADB8-3ED2DBB38EE2}"/>
          </ac:spMkLst>
        </pc:spChg>
        <pc:spChg chg="mod">
          <ac:chgData name="Rautaporras Petteri" userId="d9004aa4-7491-43fa-b04f-4f6e300df2fa" providerId="ADAL" clId="{DE362A46-FCCA-4B04-BECA-B95882F25295}" dt="2021-02-02T13:29:05.966" v="264" actId="20577"/>
          <ac:spMkLst>
            <pc:docMk/>
            <pc:sldMk cId="2832050897" sldId="1124"/>
            <ac:spMk id="7" creationId="{3687ADC7-98F5-412F-B49B-43449BFC94B9}"/>
          </ac:spMkLst>
        </pc:spChg>
      </pc:sldChg>
      <pc:sldChg chg="modSp mod">
        <pc:chgData name="Rautaporras Petteri" userId="d9004aa4-7491-43fa-b04f-4f6e300df2fa" providerId="ADAL" clId="{DE362A46-FCCA-4B04-BECA-B95882F25295}" dt="2021-02-02T13:53:45.132" v="749" actId="20577"/>
        <pc:sldMkLst>
          <pc:docMk/>
          <pc:sldMk cId="3970922604" sldId="1126"/>
        </pc:sldMkLst>
        <pc:spChg chg="mod">
          <ac:chgData name="Rautaporras Petteri" userId="d9004aa4-7491-43fa-b04f-4f6e300df2fa" providerId="ADAL" clId="{DE362A46-FCCA-4B04-BECA-B95882F25295}" dt="2021-02-02T13:53:45.132" v="749" actId="20577"/>
          <ac:spMkLst>
            <pc:docMk/>
            <pc:sldMk cId="3970922604" sldId="1126"/>
            <ac:spMk id="6" creationId="{438E4283-469C-4E61-9967-BB1E108BD8A6}"/>
          </ac:spMkLst>
        </pc:spChg>
      </pc:sldChg>
      <pc:sldChg chg="del">
        <pc:chgData name="Rautaporras Petteri" userId="d9004aa4-7491-43fa-b04f-4f6e300df2fa" providerId="ADAL" clId="{DE362A46-FCCA-4B04-BECA-B95882F25295}" dt="2021-02-02T13:28:15.778" v="239" actId="47"/>
        <pc:sldMkLst>
          <pc:docMk/>
          <pc:sldMk cId="3953579450" sldId="2076137381"/>
        </pc:sldMkLst>
      </pc:sldChg>
      <pc:sldChg chg="del">
        <pc:chgData name="Rautaporras Petteri" userId="d9004aa4-7491-43fa-b04f-4f6e300df2fa" providerId="ADAL" clId="{DE362A46-FCCA-4B04-BECA-B95882F25295}" dt="2021-02-02T13:28:15.778" v="239" actId="47"/>
        <pc:sldMkLst>
          <pc:docMk/>
          <pc:sldMk cId="1757627379" sldId="2076137405"/>
        </pc:sldMkLst>
      </pc:sldChg>
      <pc:sldChg chg="del">
        <pc:chgData name="Rautaporras Petteri" userId="d9004aa4-7491-43fa-b04f-4f6e300df2fa" providerId="ADAL" clId="{DE362A46-FCCA-4B04-BECA-B95882F25295}" dt="2021-02-02T13:28:15.778" v="239" actId="47"/>
        <pc:sldMkLst>
          <pc:docMk/>
          <pc:sldMk cId="742810181" sldId="2076137409"/>
        </pc:sldMkLst>
      </pc:sldChg>
      <pc:sldChg chg="del">
        <pc:chgData name="Rautaporras Petteri" userId="d9004aa4-7491-43fa-b04f-4f6e300df2fa" providerId="ADAL" clId="{DE362A46-FCCA-4B04-BECA-B95882F25295}" dt="2021-02-02T13:28:15.778" v="239" actId="47"/>
        <pc:sldMkLst>
          <pc:docMk/>
          <pc:sldMk cId="3528384583" sldId="2076137417"/>
        </pc:sldMkLst>
      </pc:sldChg>
      <pc:sldChg chg="del">
        <pc:chgData name="Rautaporras Petteri" userId="d9004aa4-7491-43fa-b04f-4f6e300df2fa" providerId="ADAL" clId="{DE362A46-FCCA-4B04-BECA-B95882F25295}" dt="2021-02-02T13:28:15.778" v="239" actId="47"/>
        <pc:sldMkLst>
          <pc:docMk/>
          <pc:sldMk cId="2246037169" sldId="2076137424"/>
        </pc:sldMkLst>
      </pc:sldChg>
      <pc:sldChg chg="del">
        <pc:chgData name="Rautaporras Petteri" userId="d9004aa4-7491-43fa-b04f-4f6e300df2fa" providerId="ADAL" clId="{DE362A46-FCCA-4B04-BECA-B95882F25295}" dt="2021-02-02T13:28:15.778" v="239" actId="47"/>
        <pc:sldMkLst>
          <pc:docMk/>
          <pc:sldMk cId="2592693408" sldId="2076137427"/>
        </pc:sldMkLst>
      </pc:sldChg>
      <pc:sldChg chg="del">
        <pc:chgData name="Rautaporras Petteri" userId="d9004aa4-7491-43fa-b04f-4f6e300df2fa" providerId="ADAL" clId="{DE362A46-FCCA-4B04-BECA-B95882F25295}" dt="2021-02-02T13:28:15.778" v="239" actId="47"/>
        <pc:sldMkLst>
          <pc:docMk/>
          <pc:sldMk cId="172206016" sldId="2076137430"/>
        </pc:sldMkLst>
      </pc:sldChg>
      <pc:sldChg chg="modSp mod">
        <pc:chgData name="Rautaporras Petteri" userId="d9004aa4-7491-43fa-b04f-4f6e300df2fa" providerId="ADAL" clId="{DE362A46-FCCA-4B04-BECA-B95882F25295}" dt="2021-02-02T12:43:40.188" v="47" actId="20577"/>
        <pc:sldMkLst>
          <pc:docMk/>
          <pc:sldMk cId="1005875025" sldId="2076137431"/>
        </pc:sldMkLst>
        <pc:spChg chg="mod">
          <ac:chgData name="Rautaporras Petteri" userId="d9004aa4-7491-43fa-b04f-4f6e300df2fa" providerId="ADAL" clId="{DE362A46-FCCA-4B04-BECA-B95882F25295}" dt="2021-02-02T12:43:40.188" v="47" actId="20577"/>
          <ac:spMkLst>
            <pc:docMk/>
            <pc:sldMk cId="1005875025" sldId="2076137431"/>
            <ac:spMk id="2" creationId="{1EA16522-6D7C-4EC7-AF1E-1A8A6FD7091A}"/>
          </ac:spMkLst>
        </pc:spChg>
      </pc:sldChg>
      <pc:sldChg chg="modSp del">
        <pc:chgData name="Rautaporras Petteri" userId="d9004aa4-7491-43fa-b04f-4f6e300df2fa" providerId="ADAL" clId="{DE362A46-FCCA-4B04-BECA-B95882F25295}" dt="2021-02-02T12:50:43.119" v="234" actId="47"/>
        <pc:sldMkLst>
          <pc:docMk/>
          <pc:sldMk cId="2192367370" sldId="2076137432"/>
        </pc:sldMkLst>
        <pc:graphicFrameChg chg="mod">
          <ac:chgData name="Rautaporras Petteri" userId="d9004aa4-7491-43fa-b04f-4f6e300df2fa" providerId="ADAL" clId="{DE362A46-FCCA-4B04-BECA-B95882F25295}" dt="2021-02-02T12:46:23.439" v="128"/>
          <ac:graphicFrameMkLst>
            <pc:docMk/>
            <pc:sldMk cId="2192367370" sldId="2076137432"/>
            <ac:graphicFrameMk id="12" creationId="{00000000-0000-0000-0000-000000000000}"/>
          </ac:graphicFrameMkLst>
        </pc:graphicFrameChg>
      </pc:sldChg>
      <pc:sldChg chg="del">
        <pc:chgData name="Rautaporras Petteri" userId="d9004aa4-7491-43fa-b04f-4f6e300df2fa" providerId="ADAL" clId="{DE362A46-FCCA-4B04-BECA-B95882F25295}" dt="2021-02-02T13:28:15.778" v="239" actId="47"/>
        <pc:sldMkLst>
          <pc:docMk/>
          <pc:sldMk cId="3210992372" sldId="2076137433"/>
        </pc:sldMkLst>
      </pc:sldChg>
      <pc:sldChg chg="del">
        <pc:chgData name="Rautaporras Petteri" userId="d9004aa4-7491-43fa-b04f-4f6e300df2fa" providerId="ADAL" clId="{DE362A46-FCCA-4B04-BECA-B95882F25295}" dt="2021-02-02T13:05:47.366" v="238" actId="47"/>
        <pc:sldMkLst>
          <pc:docMk/>
          <pc:sldMk cId="2340591786" sldId="2076137434"/>
        </pc:sldMkLst>
      </pc:sldChg>
      <pc:sldMasterChg chg="delSldLayout">
        <pc:chgData name="Rautaporras Petteri" userId="d9004aa4-7491-43fa-b04f-4f6e300df2fa" providerId="ADAL" clId="{DE362A46-FCCA-4B04-BECA-B95882F25295}" dt="2021-02-02T13:28:15.778" v="239" actId="47"/>
        <pc:sldMasterMkLst>
          <pc:docMk/>
          <pc:sldMasterMk cId="729942253" sldId="2147483648"/>
        </pc:sldMasterMkLst>
        <pc:sldLayoutChg chg="del">
          <pc:chgData name="Rautaporras Petteri" userId="d9004aa4-7491-43fa-b04f-4f6e300df2fa" providerId="ADAL" clId="{DE362A46-FCCA-4B04-BECA-B95882F25295}" dt="2021-02-02T13:28:15.778" v="239" actId="47"/>
          <pc:sldLayoutMkLst>
            <pc:docMk/>
            <pc:sldMasterMk cId="729942253" sldId="2147483648"/>
            <pc:sldLayoutMk cId="1093377509" sldId="2147483718"/>
          </pc:sldLayoutMkLst>
        </pc:sldLayoutChg>
      </pc:sldMasterChg>
    </pc:docChg>
  </pc:docChgLst>
  <pc:docChgLst>
    <pc:chgData name="Rautaporras Petteri" userId="d9004aa4-7491-43fa-b04f-4f6e300df2fa" providerId="ADAL" clId="{EF2E8D5A-BFC8-4880-AFEB-1BC62E57649F}"/>
    <pc:docChg chg="undo custSel addSld delSld modSld sldOrd">
      <pc:chgData name="Rautaporras Petteri" userId="d9004aa4-7491-43fa-b04f-4f6e300df2fa" providerId="ADAL" clId="{EF2E8D5A-BFC8-4880-AFEB-1BC62E57649F}" dt="2021-04-28T06:02:50.029" v="3061" actId="20577"/>
      <pc:docMkLst>
        <pc:docMk/>
      </pc:docMkLst>
      <pc:sldChg chg="add">
        <pc:chgData name="Rautaporras Petteri" userId="d9004aa4-7491-43fa-b04f-4f6e300df2fa" providerId="ADAL" clId="{EF2E8D5A-BFC8-4880-AFEB-1BC62E57649F}" dt="2021-04-26T13:03:56.226" v="331"/>
        <pc:sldMkLst>
          <pc:docMk/>
          <pc:sldMk cId="347492013" sldId="258"/>
        </pc:sldMkLst>
      </pc:sldChg>
      <pc:sldChg chg="add del">
        <pc:chgData name="Rautaporras Petteri" userId="d9004aa4-7491-43fa-b04f-4f6e300df2fa" providerId="ADAL" clId="{EF2E8D5A-BFC8-4880-AFEB-1BC62E57649F}" dt="2021-04-26T12:59:23.145" v="216" actId="47"/>
        <pc:sldMkLst>
          <pc:docMk/>
          <pc:sldMk cId="2510371092" sldId="266"/>
        </pc:sldMkLst>
      </pc:sldChg>
      <pc:sldChg chg="modSp ord">
        <pc:chgData name="Rautaporras Petteri" userId="d9004aa4-7491-43fa-b04f-4f6e300df2fa" providerId="ADAL" clId="{EF2E8D5A-BFC8-4880-AFEB-1BC62E57649F}" dt="2021-04-26T12:59:29.288" v="220"/>
        <pc:sldMkLst>
          <pc:docMk/>
          <pc:sldMk cId="2114849149" sldId="271"/>
        </pc:sldMkLst>
        <pc:graphicFrameChg chg="mod">
          <ac:chgData name="Rautaporras Petteri" userId="d9004aa4-7491-43fa-b04f-4f6e300df2fa" providerId="ADAL" clId="{EF2E8D5A-BFC8-4880-AFEB-1BC62E57649F}" dt="2021-04-26T12:47:12.302" v="210"/>
          <ac:graphicFrameMkLst>
            <pc:docMk/>
            <pc:sldMk cId="2114849149" sldId="271"/>
            <ac:graphicFrameMk id="9" creationId="{00000000-0000-0000-0000-000000000000}"/>
          </ac:graphicFrameMkLst>
        </pc:graphicFrameChg>
      </pc:sldChg>
      <pc:sldChg chg="modSp del">
        <pc:chgData name="Rautaporras Petteri" userId="d9004aa4-7491-43fa-b04f-4f6e300df2fa" providerId="ADAL" clId="{EF2E8D5A-BFC8-4880-AFEB-1BC62E57649F}" dt="2021-04-26T12:59:26.631" v="218" actId="47"/>
        <pc:sldMkLst>
          <pc:docMk/>
          <pc:sldMk cId="234392101" sldId="283"/>
        </pc:sldMkLst>
        <pc:graphicFrameChg chg="mod">
          <ac:chgData name="Rautaporras Petteri" userId="d9004aa4-7491-43fa-b04f-4f6e300df2fa" providerId="ADAL" clId="{EF2E8D5A-BFC8-4880-AFEB-1BC62E57649F}" dt="2021-04-26T12:59:26.613" v="217"/>
          <ac:graphicFrameMkLst>
            <pc:docMk/>
            <pc:sldMk cId="234392101" sldId="283"/>
            <ac:graphicFrameMk id="18" creationId="{5C0EBE92-AFAE-40A8-9E3C-F54339200160}"/>
          </ac:graphicFrameMkLst>
        </pc:graphicFrameChg>
      </pc:sldChg>
      <pc:sldChg chg="modSp add mod">
        <pc:chgData name="Rautaporras Petteri" userId="d9004aa4-7491-43fa-b04f-4f6e300df2fa" providerId="ADAL" clId="{EF2E8D5A-BFC8-4880-AFEB-1BC62E57649F}" dt="2021-04-26T13:06:21.580" v="335" actId="1076"/>
        <pc:sldMkLst>
          <pc:docMk/>
          <pc:sldMk cId="2833165680" sldId="356"/>
        </pc:sldMkLst>
        <pc:spChg chg="mod">
          <ac:chgData name="Rautaporras Petteri" userId="d9004aa4-7491-43fa-b04f-4f6e300df2fa" providerId="ADAL" clId="{EF2E8D5A-BFC8-4880-AFEB-1BC62E57649F}" dt="2021-04-26T13:06:21.580" v="335" actId="1076"/>
          <ac:spMkLst>
            <pc:docMk/>
            <pc:sldMk cId="2833165680" sldId="356"/>
            <ac:spMk id="8" creationId="{03A6E3B0-5FBD-4EC6-893B-FFB382725403}"/>
          </ac:spMkLst>
        </pc:spChg>
      </pc:sldChg>
      <pc:sldChg chg="modSp add mod">
        <pc:chgData name="Rautaporras Petteri" userId="d9004aa4-7491-43fa-b04f-4f6e300df2fa" providerId="ADAL" clId="{EF2E8D5A-BFC8-4880-AFEB-1BC62E57649F}" dt="2021-04-26T13:06:11.068" v="333" actId="1076"/>
        <pc:sldMkLst>
          <pc:docMk/>
          <pc:sldMk cId="698580732" sldId="363"/>
        </pc:sldMkLst>
        <pc:spChg chg="mod">
          <ac:chgData name="Rautaporras Petteri" userId="d9004aa4-7491-43fa-b04f-4f6e300df2fa" providerId="ADAL" clId="{EF2E8D5A-BFC8-4880-AFEB-1BC62E57649F}" dt="2021-04-26T13:06:11.068" v="333" actId="1076"/>
          <ac:spMkLst>
            <pc:docMk/>
            <pc:sldMk cId="698580732" sldId="363"/>
            <ac:spMk id="14" creationId="{65054603-5EDB-48DD-ABBD-118DA9B3A626}"/>
          </ac:spMkLst>
        </pc:spChg>
      </pc:sldChg>
      <pc:sldChg chg="addSp modSp add del mod">
        <pc:chgData name="Rautaporras Petteri" userId="d9004aa4-7491-43fa-b04f-4f6e300df2fa" providerId="ADAL" clId="{EF2E8D5A-BFC8-4880-AFEB-1BC62E57649F}" dt="2021-04-27T05:02:04.625" v="337" actId="47"/>
        <pc:sldMkLst>
          <pc:docMk/>
          <pc:sldMk cId="3098896778" sldId="1046"/>
        </pc:sldMkLst>
        <pc:spChg chg="add mod">
          <ac:chgData name="Rautaporras Petteri" userId="d9004aa4-7491-43fa-b04f-4f6e300df2fa" providerId="ADAL" clId="{EF2E8D5A-BFC8-4880-AFEB-1BC62E57649F}" dt="2021-04-26T12:46:16.580" v="201" actId="122"/>
          <ac:spMkLst>
            <pc:docMk/>
            <pc:sldMk cId="3098896778" sldId="1046"/>
            <ac:spMk id="2" creationId="{B2F33495-F554-4D35-AB1A-A31F95B2B096}"/>
          </ac:spMkLst>
        </pc:spChg>
        <pc:spChg chg="mod">
          <ac:chgData name="Rautaporras Petteri" userId="d9004aa4-7491-43fa-b04f-4f6e300df2fa" providerId="ADAL" clId="{EF2E8D5A-BFC8-4880-AFEB-1BC62E57649F}" dt="2021-04-26T12:36:51.679" v="103" actId="20577"/>
          <ac:spMkLst>
            <pc:docMk/>
            <pc:sldMk cId="3098896778" sldId="1046"/>
            <ac:spMk id="10" creationId="{00000000-0000-0000-0000-000000000000}"/>
          </ac:spMkLst>
        </pc:spChg>
        <pc:spChg chg="add mod">
          <ac:chgData name="Rautaporras Petteri" userId="d9004aa4-7491-43fa-b04f-4f6e300df2fa" providerId="ADAL" clId="{EF2E8D5A-BFC8-4880-AFEB-1BC62E57649F}" dt="2021-04-26T12:46:45.868" v="205" actId="571"/>
          <ac:spMkLst>
            <pc:docMk/>
            <pc:sldMk cId="3098896778" sldId="1046"/>
            <ac:spMk id="38" creationId="{94ECD6A5-8757-4AE7-A7F4-F3E4ED8371C1}"/>
          </ac:spMkLst>
        </pc:spChg>
        <pc:spChg chg="mod">
          <ac:chgData name="Rautaporras Petteri" userId="d9004aa4-7491-43fa-b04f-4f6e300df2fa" providerId="ADAL" clId="{EF2E8D5A-BFC8-4880-AFEB-1BC62E57649F}" dt="2021-04-26T12:42:33.444" v="165" actId="14100"/>
          <ac:spMkLst>
            <pc:docMk/>
            <pc:sldMk cId="3098896778" sldId="1046"/>
            <ac:spMk id="203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38:51.101" v="137" actId="122"/>
          <ac:spMkLst>
            <pc:docMk/>
            <pc:sldMk cId="3098896778" sldId="1046"/>
            <ac:spMk id="205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38:49.126" v="136" actId="122"/>
          <ac:spMkLst>
            <pc:docMk/>
            <pc:sldMk cId="3098896778" sldId="1046"/>
            <ac:spMk id="206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38:23.130" v="125" actId="1076"/>
          <ac:spMkLst>
            <pc:docMk/>
            <pc:sldMk cId="3098896778" sldId="1046"/>
            <ac:spMk id="207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38:46.510" v="135" actId="122"/>
          <ac:spMkLst>
            <pc:docMk/>
            <pc:sldMk cId="3098896778" sldId="1046"/>
            <ac:spMk id="208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46:34.716" v="204" actId="14100"/>
          <ac:spMkLst>
            <pc:docMk/>
            <pc:sldMk cId="3098896778" sldId="1046"/>
            <ac:spMk id="210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39:13.268" v="148" actId="207"/>
          <ac:spMkLst>
            <pc:docMk/>
            <pc:sldMk cId="3098896778" sldId="1046"/>
            <ac:spMk id="211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42:23.627" v="164" actId="14100"/>
          <ac:spMkLst>
            <pc:docMk/>
            <pc:sldMk cId="3098896778" sldId="1046"/>
            <ac:spMk id="212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37:56.409" v="112" actId="1076"/>
          <ac:spMkLst>
            <pc:docMk/>
            <pc:sldMk cId="3098896778" sldId="1046"/>
            <ac:spMk id="215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43:32.189" v="172" actId="1076"/>
          <ac:spMkLst>
            <pc:docMk/>
            <pc:sldMk cId="3098896778" sldId="1046"/>
            <ac:spMk id="216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43:17.253" v="169" actId="1076"/>
          <ac:spMkLst>
            <pc:docMk/>
            <pc:sldMk cId="3098896778" sldId="1046"/>
            <ac:spMk id="217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43:20.141" v="170" actId="1076"/>
          <ac:spMkLst>
            <pc:docMk/>
            <pc:sldMk cId="3098896778" sldId="1046"/>
            <ac:spMk id="218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43:37.470" v="173" actId="14100"/>
          <ac:spMkLst>
            <pc:docMk/>
            <pc:sldMk cId="3098896778" sldId="1046"/>
            <ac:spMk id="219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37:35.174" v="108" actId="207"/>
          <ac:spMkLst>
            <pc:docMk/>
            <pc:sldMk cId="3098896778" sldId="1046"/>
            <ac:spMk id="220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41:48.098" v="160" actId="1076"/>
          <ac:spMkLst>
            <pc:docMk/>
            <pc:sldMk cId="3098896778" sldId="1046"/>
            <ac:spMk id="221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43:53.238" v="177" actId="1076"/>
          <ac:spMkLst>
            <pc:docMk/>
            <pc:sldMk cId="3098896778" sldId="1046"/>
            <ac:spMk id="222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44:03.254" v="181" actId="1076"/>
          <ac:spMkLst>
            <pc:docMk/>
            <pc:sldMk cId="3098896778" sldId="1046"/>
            <ac:spMk id="223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44:34.231" v="192" actId="1076"/>
          <ac:spMkLst>
            <pc:docMk/>
            <pc:sldMk cId="3098896778" sldId="1046"/>
            <ac:spMk id="224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46:26.887" v="203" actId="208"/>
          <ac:spMkLst>
            <pc:docMk/>
            <pc:sldMk cId="3098896778" sldId="1046"/>
            <ac:spMk id="225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47:01.035" v="206" actId="1076"/>
          <ac:spMkLst>
            <pc:docMk/>
            <pc:sldMk cId="3098896778" sldId="1046"/>
            <ac:spMk id="229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39:29.684" v="155" actId="1076"/>
          <ac:spMkLst>
            <pc:docMk/>
            <pc:sldMk cId="3098896778" sldId="1046"/>
            <ac:spMk id="231" creationId="{00000000-0000-0000-0000-000000000000}"/>
          </ac:spMkLst>
        </pc:spChg>
        <pc:graphicFrameChg chg="mod">
          <ac:chgData name="Rautaporras Petteri" userId="d9004aa4-7491-43fa-b04f-4f6e300df2fa" providerId="ADAL" clId="{EF2E8D5A-BFC8-4880-AFEB-1BC62E57649F}" dt="2021-04-26T12:33:57.837" v="48" actId="692"/>
          <ac:graphicFrameMkLst>
            <pc:docMk/>
            <pc:sldMk cId="3098896778" sldId="1046"/>
            <ac:graphicFrameMk id="200" creationId="{00000000-0000-0000-0000-000000000000}"/>
          </ac:graphicFrameMkLst>
        </pc:graphicFrameChg>
      </pc:sldChg>
      <pc:sldChg chg="del">
        <pc:chgData name="Rautaporras Petteri" userId="d9004aa4-7491-43fa-b04f-4f6e300df2fa" providerId="ADAL" clId="{EF2E8D5A-BFC8-4880-AFEB-1BC62E57649F}" dt="2021-04-26T13:01:49.411" v="228" actId="47"/>
        <pc:sldMkLst>
          <pc:docMk/>
          <pc:sldMk cId="1255078131" sldId="1051"/>
        </pc:sldMkLst>
      </pc:sldChg>
      <pc:sldChg chg="del">
        <pc:chgData name="Rautaporras Petteri" userId="d9004aa4-7491-43fa-b04f-4f6e300df2fa" providerId="ADAL" clId="{EF2E8D5A-BFC8-4880-AFEB-1BC62E57649F}" dt="2021-04-26T13:02:19.725" v="234" actId="47"/>
        <pc:sldMkLst>
          <pc:docMk/>
          <pc:sldMk cId="1680971455" sldId="1054"/>
        </pc:sldMkLst>
      </pc:sldChg>
      <pc:sldChg chg="modSp mod">
        <pc:chgData name="Rautaporras Petteri" userId="d9004aa4-7491-43fa-b04f-4f6e300df2fa" providerId="ADAL" clId="{EF2E8D5A-BFC8-4880-AFEB-1BC62E57649F}" dt="2021-04-26T12:06:08.498" v="4" actId="20577"/>
        <pc:sldMkLst>
          <pc:docMk/>
          <pc:sldMk cId="3607371377" sldId="1063"/>
        </pc:sldMkLst>
        <pc:spChg chg="mod">
          <ac:chgData name="Rautaporras Petteri" userId="d9004aa4-7491-43fa-b04f-4f6e300df2fa" providerId="ADAL" clId="{EF2E8D5A-BFC8-4880-AFEB-1BC62E57649F}" dt="2021-04-26T12:06:08.498" v="4" actId="20577"/>
          <ac:spMkLst>
            <pc:docMk/>
            <pc:sldMk cId="3607371377" sldId="1063"/>
            <ac:spMk id="2" creationId="{50FC3B40-AC30-46E2-BCAD-E388935D70C2}"/>
          </ac:spMkLst>
        </pc:spChg>
      </pc:sldChg>
      <pc:sldChg chg="modSp add del mod">
        <pc:chgData name="Rautaporras Petteri" userId="d9004aa4-7491-43fa-b04f-4f6e300df2fa" providerId="ADAL" clId="{EF2E8D5A-BFC8-4880-AFEB-1BC62E57649F}" dt="2021-04-27T19:23:45.951" v="2713" actId="20577"/>
        <pc:sldMkLst>
          <pc:docMk/>
          <pc:sldMk cId="3461487886" sldId="1065"/>
        </pc:sldMkLst>
        <pc:graphicFrameChg chg="modGraphic">
          <ac:chgData name="Rautaporras Petteri" userId="d9004aa4-7491-43fa-b04f-4f6e300df2fa" providerId="ADAL" clId="{EF2E8D5A-BFC8-4880-AFEB-1BC62E57649F}" dt="2021-04-27T19:23:45.951" v="2713" actId="20577"/>
          <ac:graphicFrameMkLst>
            <pc:docMk/>
            <pc:sldMk cId="3461487886" sldId="1065"/>
            <ac:graphicFrameMk id="25" creationId="{00000000-0000-0000-0000-000000000000}"/>
          </ac:graphicFrameMkLst>
        </pc:graphicFrameChg>
      </pc:sldChg>
      <pc:sldChg chg="add">
        <pc:chgData name="Rautaporras Petteri" userId="d9004aa4-7491-43fa-b04f-4f6e300df2fa" providerId="ADAL" clId="{EF2E8D5A-BFC8-4880-AFEB-1BC62E57649F}" dt="2021-04-26T13:01:20.289" v="225"/>
        <pc:sldMkLst>
          <pc:docMk/>
          <pc:sldMk cId="3421334924" sldId="1067"/>
        </pc:sldMkLst>
      </pc:sldChg>
      <pc:sldChg chg="del">
        <pc:chgData name="Rautaporras Petteri" userId="d9004aa4-7491-43fa-b04f-4f6e300df2fa" providerId="ADAL" clId="{EF2E8D5A-BFC8-4880-AFEB-1BC62E57649F}" dt="2021-04-26T13:04:22.061" v="332" actId="47"/>
        <pc:sldMkLst>
          <pc:docMk/>
          <pc:sldMk cId="3926641037" sldId="1068"/>
        </pc:sldMkLst>
      </pc:sldChg>
      <pc:sldChg chg="modSp mod">
        <pc:chgData name="Rautaporras Petteri" userId="d9004aa4-7491-43fa-b04f-4f6e300df2fa" providerId="ADAL" clId="{EF2E8D5A-BFC8-4880-AFEB-1BC62E57649F}" dt="2021-04-28T05:53:01.442" v="3021" actId="20577"/>
        <pc:sldMkLst>
          <pc:docMk/>
          <pc:sldMk cId="929075840" sldId="1075"/>
        </pc:sldMkLst>
        <pc:spChg chg="mod">
          <ac:chgData name="Rautaporras Petteri" userId="d9004aa4-7491-43fa-b04f-4f6e300df2fa" providerId="ADAL" clId="{EF2E8D5A-BFC8-4880-AFEB-1BC62E57649F}" dt="2021-04-28T05:53:01.442" v="3021" actId="20577"/>
          <ac:spMkLst>
            <pc:docMk/>
            <pc:sldMk cId="929075840" sldId="1075"/>
            <ac:spMk id="2" creationId="{40907C84-4663-4DC6-B126-256840B87413}"/>
          </ac:spMkLst>
        </pc:spChg>
      </pc:sldChg>
      <pc:sldChg chg="modSp del mod">
        <pc:chgData name="Rautaporras Petteri" userId="d9004aa4-7491-43fa-b04f-4f6e300df2fa" providerId="ADAL" clId="{EF2E8D5A-BFC8-4880-AFEB-1BC62E57649F}" dt="2021-04-28T05:52:56.374" v="3020" actId="47"/>
        <pc:sldMkLst>
          <pc:docMk/>
          <pc:sldMk cId="3128374377" sldId="1076"/>
        </pc:sldMkLst>
        <pc:spChg chg="mod">
          <ac:chgData name="Rautaporras Petteri" userId="d9004aa4-7491-43fa-b04f-4f6e300df2fa" providerId="ADAL" clId="{EF2E8D5A-BFC8-4880-AFEB-1BC62E57649F}" dt="2021-04-28T05:52:23.709" v="2968" actId="20577"/>
          <ac:spMkLst>
            <pc:docMk/>
            <pc:sldMk cId="3128374377" sldId="1076"/>
            <ac:spMk id="2" creationId="{E434BD08-68AA-49E7-8874-B33FEC000256}"/>
          </ac:spMkLst>
        </pc:spChg>
      </pc:sldChg>
      <pc:sldChg chg="modSp mod">
        <pc:chgData name="Rautaporras Petteri" userId="d9004aa4-7491-43fa-b04f-4f6e300df2fa" providerId="ADAL" clId="{EF2E8D5A-BFC8-4880-AFEB-1BC62E57649F}" dt="2021-04-28T06:02:50.029" v="3061" actId="20577"/>
        <pc:sldMkLst>
          <pc:docMk/>
          <pc:sldMk cId="2573167509" sldId="1104"/>
        </pc:sldMkLst>
        <pc:spChg chg="mod">
          <ac:chgData name="Rautaporras Petteri" userId="d9004aa4-7491-43fa-b04f-4f6e300df2fa" providerId="ADAL" clId="{EF2E8D5A-BFC8-4880-AFEB-1BC62E57649F}" dt="2021-04-28T06:02:50.029" v="3061" actId="20577"/>
          <ac:spMkLst>
            <pc:docMk/>
            <pc:sldMk cId="2573167509" sldId="1104"/>
            <ac:spMk id="2" creationId="{4BB0440D-C81A-46A2-A992-15D38EB5099C}"/>
          </ac:spMkLst>
        </pc:spChg>
      </pc:sldChg>
      <pc:sldChg chg="modSp mod">
        <pc:chgData name="Rautaporras Petteri" userId="d9004aa4-7491-43fa-b04f-4f6e300df2fa" providerId="ADAL" clId="{EF2E8D5A-BFC8-4880-AFEB-1BC62E57649F}" dt="2021-04-27T10:54:22.870" v="2611" actId="313"/>
        <pc:sldMkLst>
          <pc:docMk/>
          <pc:sldMk cId="2272776827" sldId="1117"/>
        </pc:sldMkLst>
        <pc:spChg chg="mod">
          <ac:chgData name="Rautaporras Petteri" userId="d9004aa4-7491-43fa-b04f-4f6e300df2fa" providerId="ADAL" clId="{EF2E8D5A-BFC8-4880-AFEB-1BC62E57649F}" dt="2021-04-27T10:54:22.870" v="2611" actId="313"/>
          <ac:spMkLst>
            <pc:docMk/>
            <pc:sldMk cId="2272776827" sldId="1117"/>
            <ac:spMk id="2" creationId="{25165083-82DB-4E44-8B62-0436D46FE3CA}"/>
          </ac:spMkLst>
        </pc:spChg>
      </pc:sldChg>
      <pc:sldChg chg="modSp mod">
        <pc:chgData name="Rautaporras Petteri" userId="d9004aa4-7491-43fa-b04f-4f6e300df2fa" providerId="ADAL" clId="{EF2E8D5A-BFC8-4880-AFEB-1BC62E57649F}" dt="2021-04-26T12:47:23.298" v="211"/>
        <pc:sldMkLst>
          <pc:docMk/>
          <pc:sldMk cId="3588709971" sldId="1118"/>
        </pc:sldMkLst>
        <pc:spChg chg="mod">
          <ac:chgData name="Rautaporras Petteri" userId="d9004aa4-7491-43fa-b04f-4f6e300df2fa" providerId="ADAL" clId="{EF2E8D5A-BFC8-4880-AFEB-1BC62E57649F}" dt="2021-04-26T12:47:23.298" v="211"/>
          <ac:spMkLst>
            <pc:docMk/>
            <pc:sldMk cId="3588709971" sldId="1118"/>
            <ac:spMk id="10" creationId="{791C78E0-00E0-43A3-BD0C-8AECB56CA32F}"/>
          </ac:spMkLst>
        </pc:spChg>
        <pc:graphicFrameChg chg="mod">
          <ac:chgData name="Rautaporras Petteri" userId="d9004aa4-7491-43fa-b04f-4f6e300df2fa" providerId="ADAL" clId="{EF2E8D5A-BFC8-4880-AFEB-1BC62E57649F}" dt="2021-04-26T12:47:12.291" v="207"/>
          <ac:graphicFrameMkLst>
            <pc:docMk/>
            <pc:sldMk cId="3588709971" sldId="1118"/>
            <ac:graphicFrameMk id="9" creationId="{77D08159-59A8-4D26-8835-EADDC01FB2C4}"/>
          </ac:graphicFrameMkLst>
        </pc:graphicFrameChg>
      </pc:sldChg>
      <pc:sldChg chg="modSp del">
        <pc:chgData name="Rautaporras Petteri" userId="d9004aa4-7491-43fa-b04f-4f6e300df2fa" providerId="ADAL" clId="{EF2E8D5A-BFC8-4880-AFEB-1BC62E57649F}" dt="2021-04-26T12:59:44.097" v="222" actId="47"/>
        <pc:sldMkLst>
          <pc:docMk/>
          <pc:sldMk cId="37404522" sldId="1119"/>
        </pc:sldMkLst>
        <pc:graphicFrameChg chg="mod">
          <ac:chgData name="Rautaporras Petteri" userId="d9004aa4-7491-43fa-b04f-4f6e300df2fa" providerId="ADAL" clId="{EF2E8D5A-BFC8-4880-AFEB-1BC62E57649F}" dt="2021-04-26T12:59:44.065" v="221"/>
          <ac:graphicFrameMkLst>
            <pc:docMk/>
            <pc:sldMk cId="37404522" sldId="1119"/>
            <ac:graphicFrameMk id="6" creationId="{9B48671E-2E56-4727-B509-A9FA651C54DA}"/>
          </ac:graphicFrameMkLst>
        </pc:graphicFrameChg>
      </pc:sldChg>
      <pc:sldChg chg="del">
        <pc:chgData name="Rautaporras Petteri" userId="d9004aa4-7491-43fa-b04f-4f6e300df2fa" providerId="ADAL" clId="{EF2E8D5A-BFC8-4880-AFEB-1BC62E57649F}" dt="2021-04-26T13:00:15.793" v="224" actId="47"/>
        <pc:sldMkLst>
          <pc:docMk/>
          <pc:sldMk cId="1038765052" sldId="1123"/>
        </pc:sldMkLst>
      </pc:sldChg>
      <pc:sldChg chg="del">
        <pc:chgData name="Rautaporras Petteri" userId="d9004aa4-7491-43fa-b04f-4f6e300df2fa" providerId="ADAL" clId="{EF2E8D5A-BFC8-4880-AFEB-1BC62E57649F}" dt="2021-04-26T13:01:26.640" v="226" actId="47"/>
        <pc:sldMkLst>
          <pc:docMk/>
          <pc:sldMk cId="2832050897" sldId="1124"/>
        </pc:sldMkLst>
      </pc:sldChg>
      <pc:sldChg chg="del">
        <pc:chgData name="Rautaporras Petteri" userId="d9004aa4-7491-43fa-b04f-4f6e300df2fa" providerId="ADAL" clId="{EF2E8D5A-BFC8-4880-AFEB-1BC62E57649F}" dt="2021-04-26T13:01:56.904" v="230" actId="47"/>
        <pc:sldMkLst>
          <pc:docMk/>
          <pc:sldMk cId="1533151879" sldId="1125"/>
        </pc:sldMkLst>
      </pc:sldChg>
      <pc:sldChg chg="modSp mod">
        <pc:chgData name="Rautaporras Petteri" userId="d9004aa4-7491-43fa-b04f-4f6e300df2fa" providerId="ADAL" clId="{EF2E8D5A-BFC8-4880-AFEB-1BC62E57649F}" dt="2021-04-28T06:02:20.395" v="3053" actId="20577"/>
        <pc:sldMkLst>
          <pc:docMk/>
          <pc:sldMk cId="3970922604" sldId="1126"/>
        </pc:sldMkLst>
        <pc:spChg chg="mod">
          <ac:chgData name="Rautaporras Petteri" userId="d9004aa4-7491-43fa-b04f-4f6e300df2fa" providerId="ADAL" clId="{EF2E8D5A-BFC8-4880-AFEB-1BC62E57649F}" dt="2021-04-28T06:02:20.395" v="3053" actId="20577"/>
          <ac:spMkLst>
            <pc:docMk/>
            <pc:sldMk cId="3970922604" sldId="1126"/>
            <ac:spMk id="6" creationId="{438E4283-469C-4E61-9967-BB1E108BD8A6}"/>
          </ac:spMkLst>
        </pc:spChg>
      </pc:sldChg>
      <pc:sldChg chg="addSp delSp modSp mod">
        <pc:chgData name="Rautaporras Petteri" userId="d9004aa4-7491-43fa-b04f-4f6e300df2fa" providerId="ADAL" clId="{EF2E8D5A-BFC8-4880-AFEB-1BC62E57649F}" dt="2021-04-27T10:51:09.905" v="2558" actId="255"/>
        <pc:sldMkLst>
          <pc:docMk/>
          <pc:sldMk cId="1005875025" sldId="2076137431"/>
        </pc:sldMkLst>
        <pc:spChg chg="mod">
          <ac:chgData name="Rautaporras Petteri" userId="d9004aa4-7491-43fa-b04f-4f6e300df2fa" providerId="ADAL" clId="{EF2E8D5A-BFC8-4880-AFEB-1BC62E57649F}" dt="2021-04-27T10:51:09.905" v="2558" actId="255"/>
          <ac:spMkLst>
            <pc:docMk/>
            <pc:sldMk cId="1005875025" sldId="2076137431"/>
            <ac:spMk id="2" creationId="{1EA16522-6D7C-4EC7-AF1E-1A8A6FD7091A}"/>
          </ac:spMkLst>
        </pc:spChg>
        <pc:spChg chg="mod">
          <ac:chgData name="Rautaporras Petteri" userId="d9004aa4-7491-43fa-b04f-4f6e300df2fa" providerId="ADAL" clId="{EF2E8D5A-BFC8-4880-AFEB-1BC62E57649F}" dt="2021-04-26T12:32:10.039" v="27" actId="1076"/>
          <ac:spMkLst>
            <pc:docMk/>
            <pc:sldMk cId="1005875025" sldId="2076137431"/>
            <ac:spMk id="6" creationId="{363381DA-856B-4FE0-88EC-1D58A808626C}"/>
          </ac:spMkLst>
        </pc:spChg>
        <pc:spChg chg="mod">
          <ac:chgData name="Rautaporras Petteri" userId="d9004aa4-7491-43fa-b04f-4f6e300df2fa" providerId="ADAL" clId="{EF2E8D5A-BFC8-4880-AFEB-1BC62E57649F}" dt="2021-04-26T12:32:22.688" v="38" actId="20577"/>
          <ac:spMkLst>
            <pc:docMk/>
            <pc:sldMk cId="1005875025" sldId="2076137431"/>
            <ac:spMk id="7" creationId="{E5D8414E-05B2-45E8-B1A5-433C94DBAC85}"/>
          </ac:spMkLst>
        </pc:spChg>
        <pc:picChg chg="del">
          <ac:chgData name="Rautaporras Petteri" userId="d9004aa4-7491-43fa-b04f-4f6e300df2fa" providerId="ADAL" clId="{EF2E8D5A-BFC8-4880-AFEB-1BC62E57649F}" dt="2021-04-26T12:16:57.310" v="5" actId="478"/>
          <ac:picMkLst>
            <pc:docMk/>
            <pc:sldMk cId="1005875025" sldId="2076137431"/>
            <ac:picMk id="8" creationId="{59382AD7-337A-46FD-BF8C-31C8662EEECB}"/>
          </ac:picMkLst>
        </pc:picChg>
        <pc:picChg chg="add del mod">
          <ac:chgData name="Rautaporras Petteri" userId="d9004aa4-7491-43fa-b04f-4f6e300df2fa" providerId="ADAL" clId="{EF2E8D5A-BFC8-4880-AFEB-1BC62E57649F}" dt="2021-04-26T12:17:24.314" v="9" actId="478"/>
          <ac:picMkLst>
            <pc:docMk/>
            <pc:sldMk cId="1005875025" sldId="2076137431"/>
            <ac:picMk id="10" creationId="{641C5B66-3413-4C62-ACD3-869B76802B5D}"/>
          </ac:picMkLst>
        </pc:picChg>
        <pc:picChg chg="add mod">
          <ac:chgData name="Rautaporras Petteri" userId="d9004aa4-7491-43fa-b04f-4f6e300df2fa" providerId="ADAL" clId="{EF2E8D5A-BFC8-4880-AFEB-1BC62E57649F}" dt="2021-04-26T12:32:06.975" v="26" actId="1076"/>
          <ac:picMkLst>
            <pc:docMk/>
            <pc:sldMk cId="1005875025" sldId="2076137431"/>
            <ac:picMk id="12" creationId="{7D501E70-F242-4AD9-91F8-56C1178E0407}"/>
          </ac:picMkLst>
        </pc:picChg>
      </pc:sldChg>
      <pc:sldChg chg="add del">
        <pc:chgData name="Rautaporras Petteri" userId="d9004aa4-7491-43fa-b04f-4f6e300df2fa" providerId="ADAL" clId="{EF2E8D5A-BFC8-4880-AFEB-1BC62E57649F}" dt="2021-04-26T12:59:20.734" v="215" actId="47"/>
        <pc:sldMkLst>
          <pc:docMk/>
          <pc:sldMk cId="2192367370" sldId="2076137432"/>
        </pc:sldMkLst>
      </pc:sldChg>
      <pc:sldChg chg="modSp add mod">
        <pc:chgData name="Rautaporras Petteri" userId="d9004aa4-7491-43fa-b04f-4f6e300df2fa" providerId="ADAL" clId="{EF2E8D5A-BFC8-4880-AFEB-1BC62E57649F}" dt="2021-04-27T19:22:23.652" v="2709" actId="20577"/>
        <pc:sldMkLst>
          <pc:docMk/>
          <pc:sldMk cId="743890610" sldId="2076137433"/>
        </pc:sldMkLst>
        <pc:spChg chg="mod">
          <ac:chgData name="Rautaporras Petteri" userId="d9004aa4-7491-43fa-b04f-4f6e300df2fa" providerId="ADAL" clId="{EF2E8D5A-BFC8-4880-AFEB-1BC62E57649F}" dt="2021-04-27T19:22:23.652" v="2709" actId="20577"/>
          <ac:spMkLst>
            <pc:docMk/>
            <pc:sldMk cId="743890610" sldId="2076137433"/>
            <ac:spMk id="7" creationId="{00000000-0000-0000-0000-000000000000}"/>
          </ac:spMkLst>
        </pc:spChg>
      </pc:sldChg>
      <pc:sldChg chg="add del">
        <pc:chgData name="Rautaporras Petteri" userId="d9004aa4-7491-43fa-b04f-4f6e300df2fa" providerId="ADAL" clId="{EF2E8D5A-BFC8-4880-AFEB-1BC62E57649F}" dt="2021-04-27T05:02:12.647" v="338" actId="47"/>
        <pc:sldMkLst>
          <pc:docMk/>
          <pc:sldMk cId="4236986069" sldId="2076137434"/>
        </pc:sldMkLst>
      </pc:sldChg>
      <pc:sldChg chg="add">
        <pc:chgData name="Rautaporras Petteri" userId="d9004aa4-7491-43fa-b04f-4f6e300df2fa" providerId="ADAL" clId="{EF2E8D5A-BFC8-4880-AFEB-1BC62E57649F}" dt="2021-04-26T13:02:18.016" v="233"/>
        <pc:sldMkLst>
          <pc:docMk/>
          <pc:sldMk cId="3005809879" sldId="2076137435"/>
        </pc:sldMkLst>
      </pc:sldChg>
      <pc:sldChg chg="add">
        <pc:chgData name="Rautaporras Petteri" userId="d9004aa4-7491-43fa-b04f-4f6e300df2fa" providerId="ADAL" clId="{EF2E8D5A-BFC8-4880-AFEB-1BC62E57649F}" dt="2021-04-26T13:03:56.226" v="331"/>
        <pc:sldMkLst>
          <pc:docMk/>
          <pc:sldMk cId="800762062" sldId="2076137436"/>
        </pc:sldMkLst>
      </pc:sldChg>
      <pc:sldChg chg="modSp new mod">
        <pc:chgData name="Rautaporras Petteri" userId="d9004aa4-7491-43fa-b04f-4f6e300df2fa" providerId="ADAL" clId="{EF2E8D5A-BFC8-4880-AFEB-1BC62E57649F}" dt="2021-04-27T13:00:23.661" v="2707" actId="20577"/>
        <pc:sldMkLst>
          <pc:docMk/>
          <pc:sldMk cId="858822830" sldId="2076137437"/>
        </pc:sldMkLst>
        <pc:spChg chg="mod">
          <ac:chgData name="Rautaporras Petteri" userId="d9004aa4-7491-43fa-b04f-4f6e300df2fa" providerId="ADAL" clId="{EF2E8D5A-BFC8-4880-AFEB-1BC62E57649F}" dt="2021-04-27T05:24:48.092" v="1920" actId="12"/>
          <ac:spMkLst>
            <pc:docMk/>
            <pc:sldMk cId="858822830" sldId="2076137437"/>
            <ac:spMk id="2" creationId="{6FA92EF3-6881-400B-A823-C1DF95ACB69E}"/>
          </ac:spMkLst>
        </pc:spChg>
        <pc:spChg chg="mod">
          <ac:chgData name="Rautaporras Petteri" userId="d9004aa4-7491-43fa-b04f-4f6e300df2fa" providerId="ADAL" clId="{EF2E8D5A-BFC8-4880-AFEB-1BC62E57649F}" dt="2021-04-27T13:00:23.661" v="2707" actId="20577"/>
          <ac:spMkLst>
            <pc:docMk/>
            <pc:sldMk cId="858822830" sldId="2076137437"/>
            <ac:spMk id="6" creationId="{26680B02-E3ED-48E7-BF93-F964DC93B53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6.xlsx"/><Relationship Id="rId1" Type="http://schemas.openxmlformats.org/officeDocument/2006/relationships/themeOverride" Target="../theme/themeOverride1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912514696725472E-2"/>
          <c:y val="5.2962930800055937E-2"/>
          <c:w val="0.90632698996125116"/>
          <c:h val="0.8537549407114624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Kasvun osuus 2007</c:v>
                </c:pt>
              </c:strCache>
            </c:strRef>
          </c:tx>
          <c:spPr>
            <a:solidFill>
              <a:srgbClr val="00FFFF"/>
            </a:solidFill>
            <a:ln w="11797">
              <a:solidFill>
                <a:srgbClr val="000000"/>
              </a:solidFill>
              <a:prstDash val="solid"/>
            </a:ln>
          </c:spPr>
          <c:invertIfNegative val="0"/>
          <c:cat>
            <c:numRef>
              <c:f>Sheet1!$A$2:$A$22</c:f>
              <c:numCache>
                <c:formatCode>General</c:formatCode>
                <c:ptCount val="21"/>
                <c:pt idx="0">
                  <c:v>0</c:v>
                </c:pt>
                <c:pt idx="1">
                  <c:v>5</c:v>
                </c:pt>
                <c:pt idx="2">
                  <c:v>10</c:v>
                </c:pt>
                <c:pt idx="3">
                  <c:v>15</c:v>
                </c:pt>
                <c:pt idx="4">
                  <c:v>20</c:v>
                </c:pt>
                <c:pt idx="5">
                  <c:v>25</c:v>
                </c:pt>
                <c:pt idx="6">
                  <c:v>30</c:v>
                </c:pt>
                <c:pt idx="7">
                  <c:v>35</c:v>
                </c:pt>
                <c:pt idx="8">
                  <c:v>40</c:v>
                </c:pt>
                <c:pt idx="9">
                  <c:v>45</c:v>
                </c:pt>
                <c:pt idx="10">
                  <c:v>50</c:v>
                </c:pt>
                <c:pt idx="11">
                  <c:v>55</c:v>
                </c:pt>
                <c:pt idx="12">
                  <c:v>60</c:v>
                </c:pt>
                <c:pt idx="13">
                  <c:v>65</c:v>
                </c:pt>
                <c:pt idx="14">
                  <c:v>70</c:v>
                </c:pt>
                <c:pt idx="15">
                  <c:v>75</c:v>
                </c:pt>
                <c:pt idx="16">
                  <c:v>80</c:v>
                </c:pt>
                <c:pt idx="17">
                  <c:v>85</c:v>
                </c:pt>
                <c:pt idx="18">
                  <c:v>90</c:v>
                </c:pt>
                <c:pt idx="19">
                  <c:v>95</c:v>
                </c:pt>
                <c:pt idx="20">
                  <c:v>100</c:v>
                </c:pt>
              </c:numCache>
            </c:numRef>
          </c:cat>
          <c:val>
            <c:numRef>
              <c:f>Sheet1!$B$2:$B$22</c:f>
              <c:numCache>
                <c:formatCode>General</c:formatCode>
                <c:ptCount val="21"/>
              </c:numCache>
            </c:numRef>
          </c:val>
          <c:extLst>
            <c:ext xmlns:c16="http://schemas.microsoft.com/office/drawing/2014/chart" uri="{C3380CC4-5D6E-409C-BE32-E72D297353CC}">
              <c16:uniqueId val="{00000000-E64D-407C-B54D-9B12CCFA0F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403762288"/>
        <c:axId val="405222624"/>
      </c:barChart>
      <c:catAx>
        <c:axId val="403762288"/>
        <c:scaling>
          <c:orientation val="minMax"/>
        </c:scaling>
        <c:delete val="0"/>
        <c:axPos val="b"/>
        <c:majorGridlines>
          <c:spPr>
            <a:ln>
              <a:solidFill>
                <a:schemeClr val="bg1"/>
              </a:solidFill>
            </a:ln>
          </c:spPr>
        </c:majorGridlines>
        <c:minorGridlines>
          <c:spPr>
            <a:ln>
              <a:solidFill>
                <a:schemeClr val="bg1"/>
              </a:solidFill>
            </a:ln>
          </c:spPr>
        </c:minorGridlines>
        <c:numFmt formatCode="General" sourceLinked="1"/>
        <c:majorTickMark val="out"/>
        <c:minorTickMark val="out"/>
        <c:tickLblPos val="nextTo"/>
        <c:spPr>
          <a:ln w="23595">
            <a:solidFill>
              <a:srgbClr val="000000">
                <a:alpha val="93000"/>
              </a:srgbClr>
            </a:solidFill>
            <a:prstDash val="solid"/>
          </a:ln>
        </c:spPr>
        <c:txPr>
          <a:bodyPr rot="0" vert="horz" anchor="ctr" anchorCtr="0"/>
          <a:lstStyle/>
          <a:p>
            <a:pPr>
              <a:defRPr/>
            </a:pPr>
            <a:endParaRPr lang="fi-FI"/>
          </a:p>
        </c:txPr>
        <c:crossAx val="405222624"/>
        <c:crossesAt val="-11"/>
        <c:auto val="1"/>
        <c:lblAlgn val="ctr"/>
        <c:lblOffset val="100"/>
        <c:tickLblSkip val="2"/>
        <c:tickMarkSkip val="1"/>
        <c:noMultiLvlLbl val="0"/>
      </c:catAx>
      <c:valAx>
        <c:axId val="405222624"/>
        <c:scaling>
          <c:orientation val="minMax"/>
          <c:max val="13"/>
          <c:min val="0"/>
        </c:scaling>
        <c:delete val="0"/>
        <c:axPos val="l"/>
        <c:majorGridlines>
          <c:spPr>
            <a:ln w="11797">
              <a:solidFill>
                <a:srgbClr val="555555"/>
              </a:solidFill>
              <a:prstDash val="dash"/>
            </a:ln>
          </c:spPr>
        </c:majorGridlines>
        <c:numFmt formatCode="General" sourceLinked="1"/>
        <c:majorTickMark val="out"/>
        <c:minorTickMark val="none"/>
        <c:tickLblPos val="nextTo"/>
        <c:spPr>
          <a:ln w="2949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fi-FI"/>
          </a:p>
        </c:txPr>
        <c:crossAx val="403762288"/>
        <c:crossesAt val="0"/>
        <c:crossBetween val="midCat"/>
        <c:majorUnit val="1"/>
        <c:minorUnit val="0.5"/>
      </c:valAx>
      <c:spPr>
        <a:noFill/>
        <a:ln w="2949">
          <a:solidFill>
            <a:srgbClr val="000000"/>
          </a:solidFill>
          <a:prstDash val="solid"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050" b="0" i="0" u="none" strike="noStrike" baseline="0">
          <a:solidFill>
            <a:schemeClr val="tx2"/>
          </a:solidFill>
          <a:latin typeface="Verdana" panose="020B0604030504040204" pitchFamily="34" charset="0"/>
          <a:ea typeface="Times New Roman"/>
          <a:cs typeface="Times New Roman"/>
        </a:defRPr>
      </a:pPr>
      <a:endParaRPr lang="fi-FI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123988190465974E-2"/>
          <c:y val="4.0806818849189318E-2"/>
          <c:w val="0.92122826303919725"/>
          <c:h val="0.7308140808738824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Taul1!$B$1</c:f>
              <c:strCache>
                <c:ptCount val="1"/>
                <c:pt idx="0">
                  <c:v>7.12.2020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Taul1!$A$2:$A$4</c:f>
              <c:strCache>
                <c:ptCount val="3"/>
                <c:pt idx="0">
                  <c:v>Parempia kuin edeltävät kolme kuukautta</c:v>
                </c:pt>
                <c:pt idx="1">
                  <c:v>Suurin piirtein samanlaiset kuin kuin edeltävät kolme kuukautta</c:v>
                </c:pt>
                <c:pt idx="2">
                  <c:v>Huonompia kuin edeltävät kolme kuukautta?</c:v>
                </c:pt>
              </c:strCache>
            </c:strRef>
          </c:cat>
          <c:val>
            <c:numRef>
              <c:f>Taul1!$B$2:$B$4</c:f>
              <c:numCache>
                <c:formatCode>0.0\ %</c:formatCode>
                <c:ptCount val="3"/>
                <c:pt idx="0">
                  <c:v>0.111</c:v>
                </c:pt>
                <c:pt idx="1">
                  <c:v>0.53300000000000003</c:v>
                </c:pt>
                <c:pt idx="2">
                  <c:v>0.355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6BE-4A15-BA5A-AFE960E07419}"/>
            </c:ext>
          </c:extLst>
        </c:ser>
        <c:ser>
          <c:idx val="1"/>
          <c:order val="1"/>
          <c:tx>
            <c:strRef>
              <c:f>Taul1!$C$1</c:f>
              <c:strCache>
                <c:ptCount val="1"/>
                <c:pt idx="0">
                  <c:v>4.2.202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Taul1!$A$2:$A$4</c:f>
              <c:strCache>
                <c:ptCount val="3"/>
                <c:pt idx="0">
                  <c:v>Parempia kuin edeltävät kolme kuukautta</c:v>
                </c:pt>
                <c:pt idx="1">
                  <c:v>Suurin piirtein samanlaiset kuin kuin edeltävät kolme kuukautta</c:v>
                </c:pt>
                <c:pt idx="2">
                  <c:v>Huonompia kuin edeltävät kolme kuukautta?</c:v>
                </c:pt>
              </c:strCache>
            </c:strRef>
          </c:cat>
          <c:val>
            <c:numRef>
              <c:f>Taul1!$C$2:$C$4</c:f>
              <c:numCache>
                <c:formatCode>0.0\ %</c:formatCode>
                <c:ptCount val="3"/>
                <c:pt idx="0">
                  <c:v>0.22700000000000001</c:v>
                </c:pt>
                <c:pt idx="1">
                  <c:v>0.53800000000000003</c:v>
                </c:pt>
                <c:pt idx="2">
                  <c:v>0.234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B04-4B8C-BD85-24999C251CAE}"/>
            </c:ext>
          </c:extLst>
        </c:ser>
        <c:ser>
          <c:idx val="2"/>
          <c:order val="2"/>
          <c:tx>
            <c:strRef>
              <c:f>Taul1!$D$1</c:f>
              <c:strCache>
                <c:ptCount val="1"/>
                <c:pt idx="0">
                  <c:v>29.4.202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Taul1!$A$2:$A$4</c:f>
              <c:strCache>
                <c:ptCount val="3"/>
                <c:pt idx="0">
                  <c:v>Parempia kuin edeltävät kolme kuukautta</c:v>
                </c:pt>
                <c:pt idx="1">
                  <c:v>Suurin piirtein samanlaiset kuin kuin edeltävät kolme kuukautta</c:v>
                </c:pt>
                <c:pt idx="2">
                  <c:v>Huonompia kuin edeltävät kolme kuukautta?</c:v>
                </c:pt>
              </c:strCache>
            </c:strRef>
          </c:cat>
          <c:val>
            <c:numRef>
              <c:f>Taul1!$D$2:$D$4</c:f>
              <c:numCache>
                <c:formatCode>0.0\ %</c:formatCode>
                <c:ptCount val="3"/>
                <c:pt idx="0">
                  <c:v>0.37416481069042318</c:v>
                </c:pt>
                <c:pt idx="1">
                  <c:v>0.54565701559020041</c:v>
                </c:pt>
                <c:pt idx="2">
                  <c:v>8.017817371937639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015-4BE8-B0DD-06E7BA2CD48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17"/>
        <c:axId val="409125328"/>
        <c:axId val="409127296"/>
      </c:barChart>
      <c:catAx>
        <c:axId val="409125328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fi-FI" sz="105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409127296"/>
        <c:crosses val="autoZero"/>
        <c:auto val="1"/>
        <c:lblAlgn val="ctr"/>
        <c:lblOffset val="100"/>
        <c:noMultiLvlLbl val="0"/>
      </c:catAx>
      <c:valAx>
        <c:axId val="4091272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409125328"/>
        <c:crosses val="autoZero"/>
        <c:crossBetween val="between"/>
        <c:majorUnit val="5.000000000000001E-2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0" i="0" u="none" strike="noStrike" kern="1200" baseline="0">
              <a:solidFill>
                <a:srgbClr val="000000"/>
              </a:solidFill>
              <a:latin typeface="+mn-lt"/>
              <a:ea typeface="+mn-ea"/>
              <a:cs typeface="+mn-cs"/>
            </a:defRPr>
          </a:pPr>
          <a:endParaRPr lang="fi-FI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i-FI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Taul1!$A$2</c:f>
              <c:strCache>
                <c:ptCount val="1"/>
                <c:pt idx="0">
                  <c:v>29.4.202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Taul1!$B$1:$J$1</c:f>
              <c:strCache>
                <c:ptCount val="9"/>
                <c:pt idx="0">
                  <c:v>Komponenttien / välituotteiden / raaka-aineiden saatavuusongelmat</c:v>
                </c:pt>
                <c:pt idx="1">
                  <c:v>Asiakkaat eivät ota vastaan tuotteita omien ongelmiensa vuoksi</c:v>
                </c:pt>
                <c:pt idx="2">
                  <c:v>Asiakkaan tiloihin ei päästä tekemään työtä (asennuksia, konsultointia tms.)</c:v>
                </c:pt>
                <c:pt idx="3">
                  <c:v>Kysyntä ylipäätään heikentynyt olennaisesti (uudet tilaukset vähentyneet / myynti vähentynyt)</c:v>
                </c:pt>
                <c:pt idx="4">
                  <c:v>Jo tehtyjä tilauksia / sovittuja projekteja siirretään myöhemmäksi</c:v>
                </c:pt>
                <c:pt idx="5">
                  <c:v>Jo tehtyjä tilauksia / sovittuja projekteja perutaan kokonaan</c:v>
                </c:pt>
                <c:pt idx="6">
                  <c:v>Henkilöstön poissaolo karanteenista tai sairastumisesta johtuen</c:v>
                </c:pt>
                <c:pt idx="7">
                  <c:v>Asiakkaat eivät maksa laskuja ajoissa tai ovat maksukyvyttömiä</c:v>
                </c:pt>
                <c:pt idx="8">
                  <c:v>Ulkomaisen henkilöstön poissaolo liikkumisrajoituksista johtuen</c:v>
                </c:pt>
              </c:strCache>
            </c:strRef>
          </c:cat>
          <c:val>
            <c:numRef>
              <c:f>Taul1!$B$2:$J$2</c:f>
              <c:numCache>
                <c:formatCode>0.0\ %</c:formatCode>
                <c:ptCount val="9"/>
                <c:pt idx="0">
                  <c:v>0.13400000000000001</c:v>
                </c:pt>
                <c:pt idx="1">
                  <c:v>2.4E-2</c:v>
                </c:pt>
                <c:pt idx="2">
                  <c:v>0.06</c:v>
                </c:pt>
                <c:pt idx="3">
                  <c:v>7.8E-2</c:v>
                </c:pt>
                <c:pt idx="4">
                  <c:v>3.1E-2</c:v>
                </c:pt>
                <c:pt idx="5">
                  <c:v>7.0000000000000001E-3</c:v>
                </c:pt>
                <c:pt idx="6">
                  <c:v>1.6E-2</c:v>
                </c:pt>
                <c:pt idx="7">
                  <c:v>1.7999999999999999E-2</c:v>
                </c:pt>
                <c:pt idx="8">
                  <c:v>3.1E-2</c:v>
                </c:pt>
              </c:numCache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00-414E-48AE-A4F0-BFE891DEC9B3}"/>
            </c:ext>
          </c:extLst>
        </c:ser>
        <c:ser>
          <c:idx val="1"/>
          <c:order val="1"/>
          <c:tx>
            <c:strRef>
              <c:f>Taul1!$A$3</c:f>
              <c:strCache>
                <c:ptCount val="1"/>
                <c:pt idx="0">
                  <c:v>4.2.202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Taul1!$B$1:$J$1</c:f>
              <c:strCache>
                <c:ptCount val="9"/>
                <c:pt idx="0">
                  <c:v>Komponenttien / välituotteiden / raaka-aineiden saatavuusongelmat</c:v>
                </c:pt>
                <c:pt idx="1">
                  <c:v>Asiakkaat eivät ota vastaan tuotteita omien ongelmiensa vuoksi</c:v>
                </c:pt>
                <c:pt idx="2">
                  <c:v>Asiakkaan tiloihin ei päästä tekemään työtä (asennuksia, konsultointia tms.)</c:v>
                </c:pt>
                <c:pt idx="3">
                  <c:v>Kysyntä ylipäätään heikentynyt olennaisesti (uudet tilaukset vähentyneet / myynti vähentynyt)</c:v>
                </c:pt>
                <c:pt idx="4">
                  <c:v>Jo tehtyjä tilauksia / sovittuja projekteja siirretään myöhemmäksi</c:v>
                </c:pt>
                <c:pt idx="5">
                  <c:v>Jo tehtyjä tilauksia / sovittuja projekteja perutaan kokonaan</c:v>
                </c:pt>
                <c:pt idx="6">
                  <c:v>Henkilöstön poissaolo karanteenista tai sairastumisesta johtuen</c:v>
                </c:pt>
                <c:pt idx="7">
                  <c:v>Asiakkaat eivät maksa laskuja ajoissa tai ovat maksukyvyttömiä</c:v>
                </c:pt>
                <c:pt idx="8">
                  <c:v>Ulkomaisen henkilöstön poissaolo liikkumisrajoituksista johtuen</c:v>
                </c:pt>
              </c:strCache>
            </c:strRef>
          </c:cat>
          <c:val>
            <c:numRef>
              <c:f>Taul1!$B$3:$J$3</c:f>
              <c:numCache>
                <c:formatCode>0.0\ %</c:formatCode>
                <c:ptCount val="9"/>
                <c:pt idx="0">
                  <c:v>4.5999999999999999E-2</c:v>
                </c:pt>
                <c:pt idx="1">
                  <c:v>2.5000000000000001E-2</c:v>
                </c:pt>
                <c:pt idx="2">
                  <c:v>7.4999999999999997E-2</c:v>
                </c:pt>
                <c:pt idx="3">
                  <c:v>0.13400000000000001</c:v>
                </c:pt>
                <c:pt idx="4">
                  <c:v>4.8000000000000001E-2</c:v>
                </c:pt>
                <c:pt idx="5">
                  <c:v>1.2999999999999999E-2</c:v>
                </c:pt>
                <c:pt idx="6">
                  <c:v>1.0999999999999999E-2</c:v>
                </c:pt>
                <c:pt idx="7">
                  <c:v>1.0999999999999999E-2</c:v>
                </c:pt>
                <c:pt idx="8">
                  <c:v>3.400000000000000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59F-4BEE-BCD0-9D9A32F30D49}"/>
            </c:ext>
          </c:extLst>
        </c:ser>
        <c:ser>
          <c:idx val="2"/>
          <c:order val="2"/>
          <c:tx>
            <c:strRef>
              <c:f>Taul1!$A$4</c:f>
              <c:strCache>
                <c:ptCount val="1"/>
                <c:pt idx="0">
                  <c:v>7.12.2020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Taul1!$B$1:$J$1</c:f>
              <c:strCache>
                <c:ptCount val="9"/>
                <c:pt idx="0">
                  <c:v>Komponenttien / välituotteiden / raaka-aineiden saatavuusongelmat</c:v>
                </c:pt>
                <c:pt idx="1">
                  <c:v>Asiakkaat eivät ota vastaan tuotteita omien ongelmiensa vuoksi</c:v>
                </c:pt>
                <c:pt idx="2">
                  <c:v>Asiakkaan tiloihin ei päästä tekemään työtä (asennuksia, konsultointia tms.)</c:v>
                </c:pt>
                <c:pt idx="3">
                  <c:v>Kysyntä ylipäätään heikentynyt olennaisesti (uudet tilaukset vähentyneet / myynti vähentynyt)</c:v>
                </c:pt>
                <c:pt idx="4">
                  <c:v>Jo tehtyjä tilauksia / sovittuja projekteja siirretään myöhemmäksi</c:v>
                </c:pt>
                <c:pt idx="5">
                  <c:v>Jo tehtyjä tilauksia / sovittuja projekteja perutaan kokonaan</c:v>
                </c:pt>
                <c:pt idx="6">
                  <c:v>Henkilöstön poissaolo karanteenista tai sairastumisesta johtuen</c:v>
                </c:pt>
                <c:pt idx="7">
                  <c:v>Asiakkaat eivät maksa laskuja ajoissa tai ovat maksukyvyttömiä</c:v>
                </c:pt>
                <c:pt idx="8">
                  <c:v>Ulkomaisen henkilöstön poissaolo liikkumisrajoituksista johtuen</c:v>
                </c:pt>
              </c:strCache>
            </c:strRef>
          </c:cat>
          <c:val>
            <c:numRef>
              <c:f>Taul1!$B$4:$J$4</c:f>
              <c:numCache>
                <c:formatCode>0.0\ %</c:formatCode>
                <c:ptCount val="9"/>
                <c:pt idx="0">
                  <c:v>1.9E-2</c:v>
                </c:pt>
                <c:pt idx="1">
                  <c:v>4.4999999999999998E-2</c:v>
                </c:pt>
                <c:pt idx="2">
                  <c:v>9.1999999999999998E-2</c:v>
                </c:pt>
                <c:pt idx="3">
                  <c:v>0.24099999999999999</c:v>
                </c:pt>
                <c:pt idx="4">
                  <c:v>5.0999999999999997E-2</c:v>
                </c:pt>
                <c:pt idx="5">
                  <c:v>1.4999999999999999E-2</c:v>
                </c:pt>
                <c:pt idx="6">
                  <c:v>1.4999999999999999E-2</c:v>
                </c:pt>
                <c:pt idx="7">
                  <c:v>0.03</c:v>
                </c:pt>
                <c:pt idx="8">
                  <c:v>3.599999999999999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91F-4456-95A0-F48D1F8A1F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409125328"/>
        <c:axId val="409127296"/>
        <c:extLst/>
      </c:barChart>
      <c:catAx>
        <c:axId val="40912532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fi-FI" sz="9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409127296"/>
        <c:crosses val="autoZero"/>
        <c:auto val="1"/>
        <c:lblAlgn val="ctr"/>
        <c:lblOffset val="100"/>
        <c:noMultiLvlLbl val="0"/>
      </c:catAx>
      <c:valAx>
        <c:axId val="409127296"/>
        <c:scaling>
          <c:orientation val="minMax"/>
          <c:max val="0.25"/>
          <c:min val="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409125328"/>
        <c:crosses val="autoZero"/>
        <c:crossBetween val="between"/>
        <c:majorUnit val="5.000000000000001E-2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fi-FI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i-FI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 algn="l">
              <a:defRPr sz="1600" b="1">
                <a:solidFill>
                  <a:srgbClr val="000000"/>
                </a:solidFill>
              </a:defRPr>
            </a:pPr>
            <a:r>
              <a:rPr lang="en-US" sz="1050" b="0" err="1">
                <a:solidFill>
                  <a:srgbClr val="000000"/>
                </a:solidFill>
              </a:rPr>
              <a:t>Saldoluku</a:t>
            </a:r>
            <a:r>
              <a:rPr lang="en-US" sz="1050" b="0">
                <a:solidFill>
                  <a:srgbClr val="000000"/>
                </a:solidFill>
              </a:rPr>
              <a:t> </a:t>
            </a:r>
          </a:p>
        </c:rich>
      </c:tx>
      <c:layout>
        <c:manualLayout>
          <c:xMode val="edge"/>
          <c:yMode val="edge"/>
          <c:x val="0.84301744915256771"/>
          <c:y val="0.12627532263188951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4.4674120615740283E-2"/>
          <c:y val="3.5687247530145093E-2"/>
          <c:w val="0.93307819253678703"/>
          <c:h val="0.93088245034184414"/>
        </c:manualLayout>
      </c:layout>
      <c:lineChart>
        <c:grouping val="standard"/>
        <c:varyColors val="0"/>
        <c:ser>
          <c:idx val="0"/>
          <c:order val="0"/>
          <c:tx>
            <c:strRef>
              <c:f>Taul1!$B$1</c:f>
              <c:strCache>
                <c:ptCount val="1"/>
                <c:pt idx="0">
                  <c:v>Saldoluku</c:v>
                </c:pt>
              </c:strCache>
            </c:strRef>
          </c:tx>
          <c:spPr>
            <a:ln w="41275">
              <a:solidFill>
                <a:schemeClr val="accent1"/>
              </a:solidFill>
            </a:ln>
          </c:spPr>
          <c:marker>
            <c:symbol val="none"/>
          </c:marker>
          <c:cat>
            <c:strRef>
              <c:f>Taul1!$A$2:$A$58</c:f>
              <c:strCache>
                <c:ptCount val="55"/>
                <c:pt idx="1">
                  <c:v>08(1)</c:v>
                </c:pt>
                <c:pt idx="2">
                  <c:v>08(4)</c:v>
                </c:pt>
                <c:pt idx="3">
                  <c:v>08(7)</c:v>
                </c:pt>
                <c:pt idx="4">
                  <c:v>08(10)</c:v>
                </c:pt>
                <c:pt idx="5">
                  <c:v>09(1)</c:v>
                </c:pt>
                <c:pt idx="6">
                  <c:v>09(4)</c:v>
                </c:pt>
                <c:pt idx="7">
                  <c:v>09(7)</c:v>
                </c:pt>
                <c:pt idx="8">
                  <c:v>09(10)</c:v>
                </c:pt>
                <c:pt idx="9">
                  <c:v>10(1)</c:v>
                </c:pt>
                <c:pt idx="10">
                  <c:v>10(4)</c:v>
                </c:pt>
                <c:pt idx="11">
                  <c:v>10(7)</c:v>
                </c:pt>
                <c:pt idx="12">
                  <c:v>10(10)</c:v>
                </c:pt>
                <c:pt idx="13">
                  <c:v>11(1)</c:v>
                </c:pt>
                <c:pt idx="14">
                  <c:v>11(4)</c:v>
                </c:pt>
                <c:pt idx="15">
                  <c:v>11(7)</c:v>
                </c:pt>
                <c:pt idx="16">
                  <c:v>11(10)</c:v>
                </c:pt>
                <c:pt idx="17">
                  <c:v>12(1)</c:v>
                </c:pt>
                <c:pt idx="18">
                  <c:v>12(4)</c:v>
                </c:pt>
                <c:pt idx="19">
                  <c:v>12(7)</c:v>
                </c:pt>
                <c:pt idx="20">
                  <c:v>12(10)</c:v>
                </c:pt>
                <c:pt idx="21">
                  <c:v>13(1)</c:v>
                </c:pt>
                <c:pt idx="22">
                  <c:v>13(4)</c:v>
                </c:pt>
                <c:pt idx="23">
                  <c:v>13(7)</c:v>
                </c:pt>
                <c:pt idx="24">
                  <c:v>13(10)</c:v>
                </c:pt>
                <c:pt idx="25">
                  <c:v>14(1)</c:v>
                </c:pt>
                <c:pt idx="26">
                  <c:v>14(4)</c:v>
                </c:pt>
                <c:pt idx="27">
                  <c:v>14(7)</c:v>
                </c:pt>
                <c:pt idx="28">
                  <c:v>14(10)</c:v>
                </c:pt>
                <c:pt idx="29">
                  <c:v>15(1)</c:v>
                </c:pt>
                <c:pt idx="30">
                  <c:v>15(4)</c:v>
                </c:pt>
                <c:pt idx="31">
                  <c:v>15(7)</c:v>
                </c:pt>
                <c:pt idx="32">
                  <c:v>15(10)</c:v>
                </c:pt>
                <c:pt idx="33">
                  <c:v>16(1)</c:v>
                </c:pt>
                <c:pt idx="34">
                  <c:v>16(4)</c:v>
                </c:pt>
                <c:pt idx="35">
                  <c:v>16(7)</c:v>
                </c:pt>
                <c:pt idx="36">
                  <c:v>16(10)</c:v>
                </c:pt>
                <c:pt idx="37">
                  <c:v>17(1)</c:v>
                </c:pt>
                <c:pt idx="38">
                  <c:v>17(4)</c:v>
                </c:pt>
                <c:pt idx="39">
                  <c:v>17(7)</c:v>
                </c:pt>
                <c:pt idx="40">
                  <c:v>17(10)</c:v>
                </c:pt>
                <c:pt idx="41">
                  <c:v>18(1)</c:v>
                </c:pt>
                <c:pt idx="42">
                  <c:v>18(4)</c:v>
                </c:pt>
                <c:pt idx="43">
                  <c:v>18(7)</c:v>
                </c:pt>
                <c:pt idx="44">
                  <c:v>18(10)</c:v>
                </c:pt>
                <c:pt idx="45">
                  <c:v>19(1)</c:v>
                </c:pt>
                <c:pt idx="46">
                  <c:v>19(4)</c:v>
                </c:pt>
                <c:pt idx="47">
                  <c:v>19(7)</c:v>
                </c:pt>
                <c:pt idx="48">
                  <c:v>19(10)</c:v>
                </c:pt>
                <c:pt idx="49">
                  <c:v>20(1)</c:v>
                </c:pt>
                <c:pt idx="50">
                  <c:v>20(4)</c:v>
                </c:pt>
                <c:pt idx="51">
                  <c:v>20(07)</c:v>
                </c:pt>
                <c:pt idx="52">
                  <c:v>20(10)</c:v>
                </c:pt>
                <c:pt idx="53">
                  <c:v>21(1)</c:v>
                </c:pt>
                <c:pt idx="54">
                  <c:v>21(4)</c:v>
                </c:pt>
              </c:strCache>
            </c:strRef>
          </c:cat>
          <c:val>
            <c:numRef>
              <c:f>Taul1!$B$2:$B$58</c:f>
              <c:numCache>
                <c:formatCode>General</c:formatCode>
                <c:ptCount val="57"/>
                <c:pt idx="1">
                  <c:v>-2</c:v>
                </c:pt>
                <c:pt idx="2">
                  <c:v>1</c:v>
                </c:pt>
                <c:pt idx="3">
                  <c:v>-14</c:v>
                </c:pt>
                <c:pt idx="4">
                  <c:v>-28</c:v>
                </c:pt>
                <c:pt idx="5">
                  <c:v>-56</c:v>
                </c:pt>
                <c:pt idx="6">
                  <c:v>-36</c:v>
                </c:pt>
                <c:pt idx="7">
                  <c:v>-21</c:v>
                </c:pt>
                <c:pt idx="8">
                  <c:v>2</c:v>
                </c:pt>
                <c:pt idx="9">
                  <c:v>10</c:v>
                </c:pt>
                <c:pt idx="10">
                  <c:v>33</c:v>
                </c:pt>
                <c:pt idx="11">
                  <c:v>27</c:v>
                </c:pt>
                <c:pt idx="12">
                  <c:v>19</c:v>
                </c:pt>
                <c:pt idx="13">
                  <c:v>26</c:v>
                </c:pt>
                <c:pt idx="14">
                  <c:v>30</c:v>
                </c:pt>
                <c:pt idx="15">
                  <c:v>18</c:v>
                </c:pt>
                <c:pt idx="16">
                  <c:v>-5</c:v>
                </c:pt>
                <c:pt idx="17">
                  <c:v>-5</c:v>
                </c:pt>
                <c:pt idx="18">
                  <c:v>8</c:v>
                </c:pt>
                <c:pt idx="19">
                  <c:v>-4</c:v>
                </c:pt>
                <c:pt idx="20">
                  <c:v>-24</c:v>
                </c:pt>
                <c:pt idx="21">
                  <c:v>-11</c:v>
                </c:pt>
                <c:pt idx="22">
                  <c:v>-2</c:v>
                </c:pt>
                <c:pt idx="23">
                  <c:v>-11</c:v>
                </c:pt>
                <c:pt idx="24">
                  <c:v>-13</c:v>
                </c:pt>
                <c:pt idx="25">
                  <c:v>5</c:v>
                </c:pt>
                <c:pt idx="26">
                  <c:v>15</c:v>
                </c:pt>
                <c:pt idx="27">
                  <c:v>3</c:v>
                </c:pt>
                <c:pt idx="28">
                  <c:v>-12</c:v>
                </c:pt>
                <c:pt idx="29">
                  <c:v>-4</c:v>
                </c:pt>
                <c:pt idx="30">
                  <c:v>10</c:v>
                </c:pt>
                <c:pt idx="31">
                  <c:v>1</c:v>
                </c:pt>
                <c:pt idx="32">
                  <c:v>-3</c:v>
                </c:pt>
                <c:pt idx="33">
                  <c:v>1</c:v>
                </c:pt>
                <c:pt idx="34">
                  <c:v>18</c:v>
                </c:pt>
                <c:pt idx="35">
                  <c:v>4</c:v>
                </c:pt>
                <c:pt idx="36">
                  <c:v>9</c:v>
                </c:pt>
                <c:pt idx="37">
                  <c:v>14</c:v>
                </c:pt>
                <c:pt idx="38">
                  <c:v>24</c:v>
                </c:pt>
                <c:pt idx="39">
                  <c:v>24</c:v>
                </c:pt>
                <c:pt idx="40">
                  <c:v>21.45</c:v>
                </c:pt>
                <c:pt idx="41">
                  <c:v>26.4</c:v>
                </c:pt>
                <c:pt idx="42">
                  <c:v>24.3</c:v>
                </c:pt>
                <c:pt idx="43">
                  <c:v>11.46</c:v>
                </c:pt>
                <c:pt idx="44">
                  <c:v>0.45</c:v>
                </c:pt>
                <c:pt idx="45">
                  <c:v>4.71</c:v>
                </c:pt>
                <c:pt idx="46">
                  <c:v>12.19</c:v>
                </c:pt>
                <c:pt idx="47">
                  <c:v>-2.73</c:v>
                </c:pt>
                <c:pt idx="48">
                  <c:v>-16.66</c:v>
                </c:pt>
                <c:pt idx="49">
                  <c:v>-6.75</c:v>
                </c:pt>
                <c:pt idx="50">
                  <c:v>-41.7</c:v>
                </c:pt>
                <c:pt idx="51">
                  <c:v>-43.66</c:v>
                </c:pt>
                <c:pt idx="52">
                  <c:v>-16.29</c:v>
                </c:pt>
                <c:pt idx="53">
                  <c:v>7.72</c:v>
                </c:pt>
                <c:pt idx="54">
                  <c:v>26.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AD0-4FF0-85C3-A9C09AA0074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07343216"/>
        <c:axId val="407343608"/>
      </c:lineChart>
      <c:catAx>
        <c:axId val="40734321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one"/>
        <c:txPr>
          <a:bodyPr/>
          <a:lstStyle/>
          <a:p>
            <a:pPr>
              <a:defRPr sz="1400" b="1" i="0" baseline="0">
                <a:latin typeface="Arial" panose="020B0604020202020204" pitchFamily="34" charset="0"/>
              </a:defRPr>
            </a:pPr>
            <a:endParaRPr lang="fi-FI"/>
          </a:p>
        </c:txPr>
        <c:crossAx val="407343608"/>
        <c:crosses val="autoZero"/>
        <c:auto val="1"/>
        <c:lblAlgn val="ctr"/>
        <c:lblOffset val="100"/>
        <c:tickLblSkip val="11"/>
        <c:tickMarkSkip val="4"/>
        <c:noMultiLvlLbl val="0"/>
      </c:catAx>
      <c:valAx>
        <c:axId val="407343608"/>
        <c:scaling>
          <c:orientation val="minMax"/>
          <c:max val="40"/>
          <c:min val="-60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050" b="0" i="0" baseline="0">
                <a:solidFill>
                  <a:schemeClr val="tx2"/>
                </a:solidFill>
                <a:latin typeface="Verdana" panose="020B0604030504040204" pitchFamily="34" charset="0"/>
              </a:defRPr>
            </a:pPr>
            <a:endParaRPr lang="fi-FI"/>
          </a:p>
        </c:txPr>
        <c:crossAx val="407343216"/>
        <c:crosses val="autoZero"/>
        <c:crossBetween val="midCat"/>
        <c:majorUnit val="10"/>
        <c:minorUnit val="5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fi-FI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1919674910102741E-2"/>
          <c:y val="4.0749431293150853E-2"/>
          <c:w val="0.78734293607653982"/>
          <c:h val="0.83258046821215703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hteensä</c:v>
                </c:pt>
              </c:strCache>
            </c:strRef>
          </c:tx>
          <c:spPr>
            <a:ln w="38100">
              <a:solidFill>
                <a:schemeClr val="tx2"/>
              </a:solidFill>
              <a:prstDash val="solid"/>
            </a:ln>
          </c:spPr>
          <c:marker>
            <c:symbol val="none"/>
          </c:marker>
          <c:cat>
            <c:strRef>
              <c:f>Sheet1!$A$2:$A$50</c:f>
              <c:strCache>
                <c:ptCount val="46"/>
                <c:pt idx="0">
                  <c:v>2009,IV</c:v>
                </c:pt>
                <c:pt idx="1">
                  <c:v>2010,I</c:v>
                </c:pt>
                <c:pt idx="5">
                  <c:v>2011,I</c:v>
                </c:pt>
                <c:pt idx="9">
                  <c:v>2012,I</c:v>
                </c:pt>
                <c:pt idx="13">
                  <c:v>2013,I</c:v>
                </c:pt>
                <c:pt idx="17">
                  <c:v>2014,I</c:v>
                </c:pt>
                <c:pt idx="21">
                  <c:v>2015,I</c:v>
                </c:pt>
                <c:pt idx="25">
                  <c:v>2016,I</c:v>
                </c:pt>
                <c:pt idx="29">
                  <c:v>2017,I</c:v>
                </c:pt>
                <c:pt idx="33">
                  <c:v>2018,I</c:v>
                </c:pt>
                <c:pt idx="37">
                  <c:v>2019,I</c:v>
                </c:pt>
                <c:pt idx="41">
                  <c:v>2020,I</c:v>
                </c:pt>
                <c:pt idx="45">
                  <c:v>2021,I</c:v>
                </c:pt>
              </c:strCache>
            </c:strRef>
          </c:cat>
          <c:val>
            <c:numRef>
              <c:f>Sheet1!$B$2:$B$50</c:f>
              <c:numCache>
                <c:formatCode>General</c:formatCode>
                <c:ptCount val="49"/>
                <c:pt idx="1">
                  <c:v>6683.27</c:v>
                </c:pt>
                <c:pt idx="2">
                  <c:v>6927.68</c:v>
                </c:pt>
                <c:pt idx="3">
                  <c:v>6771.92</c:v>
                </c:pt>
                <c:pt idx="4">
                  <c:v>8869.14</c:v>
                </c:pt>
                <c:pt idx="5">
                  <c:v>8110.02</c:v>
                </c:pt>
                <c:pt idx="6">
                  <c:v>8413.26</c:v>
                </c:pt>
                <c:pt idx="7">
                  <c:v>7384.18</c:v>
                </c:pt>
                <c:pt idx="8">
                  <c:v>9142.2099999999991</c:v>
                </c:pt>
                <c:pt idx="9">
                  <c:v>7937.84</c:v>
                </c:pt>
                <c:pt idx="10">
                  <c:v>8296.84</c:v>
                </c:pt>
                <c:pt idx="11">
                  <c:v>7359.54</c:v>
                </c:pt>
                <c:pt idx="12">
                  <c:v>8606.27</c:v>
                </c:pt>
                <c:pt idx="13">
                  <c:v>6775.98</c:v>
                </c:pt>
                <c:pt idx="14">
                  <c:v>7237.59</c:v>
                </c:pt>
                <c:pt idx="15">
                  <c:v>6563.23</c:v>
                </c:pt>
                <c:pt idx="16">
                  <c:v>7358.95</c:v>
                </c:pt>
                <c:pt idx="17">
                  <c:v>7308.85</c:v>
                </c:pt>
                <c:pt idx="18">
                  <c:v>7584.57</c:v>
                </c:pt>
                <c:pt idx="19">
                  <c:v>8953.36</c:v>
                </c:pt>
                <c:pt idx="20">
                  <c:v>7702.96</c:v>
                </c:pt>
                <c:pt idx="21">
                  <c:v>6641.06</c:v>
                </c:pt>
                <c:pt idx="22">
                  <c:v>8633.35</c:v>
                </c:pt>
                <c:pt idx="23">
                  <c:v>6968.74</c:v>
                </c:pt>
                <c:pt idx="24">
                  <c:v>7858.38</c:v>
                </c:pt>
                <c:pt idx="25">
                  <c:v>6730.47</c:v>
                </c:pt>
                <c:pt idx="26">
                  <c:v>6403.03</c:v>
                </c:pt>
                <c:pt idx="27">
                  <c:v>6390.76</c:v>
                </c:pt>
                <c:pt idx="28">
                  <c:v>7879.72</c:v>
                </c:pt>
                <c:pt idx="29">
                  <c:v>7487.72</c:v>
                </c:pt>
                <c:pt idx="30">
                  <c:v>9470.7000000000007</c:v>
                </c:pt>
                <c:pt idx="31">
                  <c:v>7113.36</c:v>
                </c:pt>
                <c:pt idx="32">
                  <c:v>11080.29</c:v>
                </c:pt>
                <c:pt idx="33">
                  <c:v>8928.15</c:v>
                </c:pt>
                <c:pt idx="34">
                  <c:v>8640.75</c:v>
                </c:pt>
                <c:pt idx="35">
                  <c:v>8724.4</c:v>
                </c:pt>
                <c:pt idx="36">
                  <c:v>9908.8799999999992</c:v>
                </c:pt>
                <c:pt idx="37">
                  <c:v>9940.7999999999993</c:v>
                </c:pt>
                <c:pt idx="38">
                  <c:v>9520.85</c:v>
                </c:pt>
                <c:pt idx="39">
                  <c:v>9895.4599999999991</c:v>
                </c:pt>
                <c:pt idx="40">
                  <c:v>11349.47</c:v>
                </c:pt>
                <c:pt idx="41">
                  <c:v>8853.8799999999992</c:v>
                </c:pt>
                <c:pt idx="42">
                  <c:v>8219.52</c:v>
                </c:pt>
                <c:pt idx="43">
                  <c:v>8686.06</c:v>
                </c:pt>
                <c:pt idx="44">
                  <c:v>13118.98</c:v>
                </c:pt>
                <c:pt idx="45">
                  <c:v>9286.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439-479B-85F0-B6B7B0DB066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Vientiin</c:v>
                </c:pt>
              </c:strCache>
            </c:strRef>
          </c:tx>
          <c:spPr>
            <a:ln w="38100">
              <a:solidFill>
                <a:schemeClr val="accent1">
                  <a:lumMod val="60000"/>
                  <a:lumOff val="40000"/>
                </a:schemeClr>
              </a:solidFill>
              <a:prstDash val="solid"/>
            </a:ln>
          </c:spPr>
          <c:marker>
            <c:symbol val="none"/>
          </c:marker>
          <c:cat>
            <c:strRef>
              <c:f>Sheet1!$A$2:$A$50</c:f>
              <c:strCache>
                <c:ptCount val="46"/>
                <c:pt idx="0">
                  <c:v>2009,IV</c:v>
                </c:pt>
                <c:pt idx="1">
                  <c:v>2010,I</c:v>
                </c:pt>
                <c:pt idx="5">
                  <c:v>2011,I</c:v>
                </c:pt>
                <c:pt idx="9">
                  <c:v>2012,I</c:v>
                </c:pt>
                <c:pt idx="13">
                  <c:v>2013,I</c:v>
                </c:pt>
                <c:pt idx="17">
                  <c:v>2014,I</c:v>
                </c:pt>
                <c:pt idx="21">
                  <c:v>2015,I</c:v>
                </c:pt>
                <c:pt idx="25">
                  <c:v>2016,I</c:v>
                </c:pt>
                <c:pt idx="29">
                  <c:v>2017,I</c:v>
                </c:pt>
                <c:pt idx="33">
                  <c:v>2018,I</c:v>
                </c:pt>
                <c:pt idx="37">
                  <c:v>2019,I</c:v>
                </c:pt>
                <c:pt idx="41">
                  <c:v>2020,I</c:v>
                </c:pt>
                <c:pt idx="45">
                  <c:v>2021,I</c:v>
                </c:pt>
              </c:strCache>
            </c:strRef>
          </c:cat>
          <c:val>
            <c:numRef>
              <c:f>Sheet1!$C$2:$C$50</c:f>
              <c:numCache>
                <c:formatCode>General</c:formatCode>
                <c:ptCount val="49"/>
                <c:pt idx="1">
                  <c:v>5094.71</c:v>
                </c:pt>
                <c:pt idx="2">
                  <c:v>5469.08</c:v>
                </c:pt>
                <c:pt idx="3">
                  <c:v>5369.74</c:v>
                </c:pt>
                <c:pt idx="4">
                  <c:v>6712.27</c:v>
                </c:pt>
                <c:pt idx="5">
                  <c:v>5785.63</c:v>
                </c:pt>
                <c:pt idx="6">
                  <c:v>6495.42</c:v>
                </c:pt>
                <c:pt idx="7">
                  <c:v>5632.29</c:v>
                </c:pt>
                <c:pt idx="8">
                  <c:v>7027.27</c:v>
                </c:pt>
                <c:pt idx="9">
                  <c:v>5977.04</c:v>
                </c:pt>
                <c:pt idx="10">
                  <c:v>6436.22</c:v>
                </c:pt>
                <c:pt idx="11">
                  <c:v>5903.45</c:v>
                </c:pt>
                <c:pt idx="12">
                  <c:v>6915.12</c:v>
                </c:pt>
                <c:pt idx="13">
                  <c:v>5071.71</c:v>
                </c:pt>
                <c:pt idx="14">
                  <c:v>5415.69</c:v>
                </c:pt>
                <c:pt idx="15">
                  <c:v>5117.96</c:v>
                </c:pt>
                <c:pt idx="16">
                  <c:v>5743.74</c:v>
                </c:pt>
                <c:pt idx="17">
                  <c:v>5306.99</c:v>
                </c:pt>
                <c:pt idx="18">
                  <c:v>5513.67</c:v>
                </c:pt>
                <c:pt idx="19">
                  <c:v>6485</c:v>
                </c:pt>
                <c:pt idx="20">
                  <c:v>5771.63</c:v>
                </c:pt>
                <c:pt idx="21">
                  <c:v>4703.82</c:v>
                </c:pt>
                <c:pt idx="22">
                  <c:v>6299.55</c:v>
                </c:pt>
                <c:pt idx="23">
                  <c:v>5358.45</c:v>
                </c:pt>
                <c:pt idx="24">
                  <c:v>5618.4</c:v>
                </c:pt>
                <c:pt idx="25">
                  <c:v>4686.4799999999996</c:v>
                </c:pt>
                <c:pt idx="26">
                  <c:v>4491.75</c:v>
                </c:pt>
                <c:pt idx="27">
                  <c:v>4587.28</c:v>
                </c:pt>
                <c:pt idx="28">
                  <c:v>5496.63</c:v>
                </c:pt>
                <c:pt idx="29">
                  <c:v>5507.87</c:v>
                </c:pt>
                <c:pt idx="30">
                  <c:v>7363.28</c:v>
                </c:pt>
                <c:pt idx="31">
                  <c:v>5084.51</c:v>
                </c:pt>
                <c:pt idx="32">
                  <c:v>8165.33</c:v>
                </c:pt>
                <c:pt idx="33">
                  <c:v>5876.5</c:v>
                </c:pt>
                <c:pt idx="34">
                  <c:v>6204.13</c:v>
                </c:pt>
                <c:pt idx="35">
                  <c:v>6509.01</c:v>
                </c:pt>
                <c:pt idx="36">
                  <c:v>7148.47</c:v>
                </c:pt>
                <c:pt idx="37">
                  <c:v>7062.72</c:v>
                </c:pt>
                <c:pt idx="38">
                  <c:v>6587.79</c:v>
                </c:pt>
                <c:pt idx="39">
                  <c:v>7140.17</c:v>
                </c:pt>
                <c:pt idx="40">
                  <c:v>8740.27</c:v>
                </c:pt>
                <c:pt idx="41">
                  <c:v>6268.17</c:v>
                </c:pt>
                <c:pt idx="42">
                  <c:v>5775.74</c:v>
                </c:pt>
                <c:pt idx="43">
                  <c:v>6416.4</c:v>
                </c:pt>
                <c:pt idx="44">
                  <c:v>9626</c:v>
                </c:pt>
                <c:pt idx="45">
                  <c:v>6650.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439-479B-85F0-B6B7B0DB066C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Kotimaahan</c:v>
                </c:pt>
              </c:strCache>
            </c:strRef>
          </c:tx>
          <c:spPr>
            <a:ln w="38100">
              <a:solidFill>
                <a:schemeClr val="accent2"/>
              </a:solidFill>
              <a:prstDash val="solid"/>
            </a:ln>
          </c:spPr>
          <c:marker>
            <c:symbol val="none"/>
          </c:marker>
          <c:cat>
            <c:strRef>
              <c:f>Sheet1!$A$2:$A$50</c:f>
              <c:strCache>
                <c:ptCount val="46"/>
                <c:pt idx="0">
                  <c:v>2009,IV</c:v>
                </c:pt>
                <c:pt idx="1">
                  <c:v>2010,I</c:v>
                </c:pt>
                <c:pt idx="5">
                  <c:v>2011,I</c:v>
                </c:pt>
                <c:pt idx="9">
                  <c:v>2012,I</c:v>
                </c:pt>
                <c:pt idx="13">
                  <c:v>2013,I</c:v>
                </c:pt>
                <c:pt idx="17">
                  <c:v>2014,I</c:v>
                </c:pt>
                <c:pt idx="21">
                  <c:v>2015,I</c:v>
                </c:pt>
                <c:pt idx="25">
                  <c:v>2016,I</c:v>
                </c:pt>
                <c:pt idx="29">
                  <c:v>2017,I</c:v>
                </c:pt>
                <c:pt idx="33">
                  <c:v>2018,I</c:v>
                </c:pt>
                <c:pt idx="37">
                  <c:v>2019,I</c:v>
                </c:pt>
                <c:pt idx="41">
                  <c:v>2020,I</c:v>
                </c:pt>
                <c:pt idx="45">
                  <c:v>2021,I</c:v>
                </c:pt>
              </c:strCache>
            </c:strRef>
          </c:cat>
          <c:val>
            <c:numRef>
              <c:f>Sheet1!$D$2:$D$50</c:f>
              <c:numCache>
                <c:formatCode>General</c:formatCode>
                <c:ptCount val="49"/>
                <c:pt idx="1">
                  <c:v>1554.51</c:v>
                </c:pt>
                <c:pt idx="2">
                  <c:v>1422.66</c:v>
                </c:pt>
                <c:pt idx="3">
                  <c:v>1360.64</c:v>
                </c:pt>
                <c:pt idx="4">
                  <c:v>2088.35</c:v>
                </c:pt>
                <c:pt idx="5">
                  <c:v>2246.66</c:v>
                </c:pt>
                <c:pt idx="6">
                  <c:v>1857.19</c:v>
                </c:pt>
                <c:pt idx="7">
                  <c:v>1679.86</c:v>
                </c:pt>
                <c:pt idx="8">
                  <c:v>2030.11</c:v>
                </c:pt>
                <c:pt idx="9">
                  <c:v>1867.09</c:v>
                </c:pt>
                <c:pt idx="10">
                  <c:v>1776.02</c:v>
                </c:pt>
                <c:pt idx="11">
                  <c:v>1395.65</c:v>
                </c:pt>
                <c:pt idx="12">
                  <c:v>1621.56</c:v>
                </c:pt>
                <c:pt idx="13">
                  <c:v>1621.14</c:v>
                </c:pt>
                <c:pt idx="14">
                  <c:v>1749.33</c:v>
                </c:pt>
                <c:pt idx="15">
                  <c:v>1375.68</c:v>
                </c:pt>
                <c:pt idx="16">
                  <c:v>1530.49</c:v>
                </c:pt>
                <c:pt idx="17">
                  <c:v>1911.94</c:v>
                </c:pt>
                <c:pt idx="18">
                  <c:v>1987.28</c:v>
                </c:pt>
                <c:pt idx="19">
                  <c:v>2404.37</c:v>
                </c:pt>
                <c:pt idx="20">
                  <c:v>1821.9</c:v>
                </c:pt>
                <c:pt idx="21">
                  <c:v>1837.51</c:v>
                </c:pt>
                <c:pt idx="22">
                  <c:v>2227.9899999999998</c:v>
                </c:pt>
                <c:pt idx="23">
                  <c:v>1530.78</c:v>
                </c:pt>
                <c:pt idx="24">
                  <c:v>2145.62</c:v>
                </c:pt>
                <c:pt idx="25">
                  <c:v>1935.08</c:v>
                </c:pt>
                <c:pt idx="26">
                  <c:v>1801.85</c:v>
                </c:pt>
                <c:pt idx="27">
                  <c:v>1710.22</c:v>
                </c:pt>
                <c:pt idx="28">
                  <c:v>2272.58</c:v>
                </c:pt>
                <c:pt idx="29">
                  <c:v>1856.51</c:v>
                </c:pt>
                <c:pt idx="30">
                  <c:v>1983.02</c:v>
                </c:pt>
                <c:pt idx="31">
                  <c:v>1928.26</c:v>
                </c:pt>
                <c:pt idx="32">
                  <c:v>2771.65</c:v>
                </c:pt>
                <c:pt idx="33">
                  <c:v>2846.87</c:v>
                </c:pt>
                <c:pt idx="34">
                  <c:v>2250.92</c:v>
                </c:pt>
                <c:pt idx="35">
                  <c:v>2068.62</c:v>
                </c:pt>
                <c:pt idx="36">
                  <c:v>2567.4</c:v>
                </c:pt>
                <c:pt idx="37">
                  <c:v>2688.08</c:v>
                </c:pt>
                <c:pt idx="38">
                  <c:v>2772.69</c:v>
                </c:pt>
                <c:pt idx="39">
                  <c:v>2631.64</c:v>
                </c:pt>
                <c:pt idx="40">
                  <c:v>2426.04</c:v>
                </c:pt>
                <c:pt idx="41">
                  <c:v>2396.8000000000002</c:v>
                </c:pt>
                <c:pt idx="42">
                  <c:v>2259.4299999999998</c:v>
                </c:pt>
                <c:pt idx="43">
                  <c:v>2110.58</c:v>
                </c:pt>
                <c:pt idx="44">
                  <c:v>3287.39</c:v>
                </c:pt>
                <c:pt idx="45">
                  <c:v>2422.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439-479B-85F0-B6B7B0DB066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69111064"/>
        <c:axId val="369111456"/>
      </c:lineChart>
      <c:catAx>
        <c:axId val="369111064"/>
        <c:scaling>
          <c:orientation val="minMax"/>
        </c:scaling>
        <c:delete val="0"/>
        <c:axPos val="b"/>
        <c:majorGridlines>
          <c:spPr>
            <a:ln w="3175">
              <a:solidFill>
                <a:schemeClr val="tx1"/>
              </a:solidFill>
              <a:prstDash val="dash"/>
            </a:ln>
          </c:spPr>
        </c:majorGridlines>
        <c:numFmt formatCode="General" sourceLinked="1"/>
        <c:majorTickMark val="out"/>
        <c:minorTickMark val="none"/>
        <c:tickLblPos val="none"/>
        <c:spPr>
          <a:ln w="2843">
            <a:solidFill>
              <a:schemeClr val="tx1"/>
            </a:solidFill>
            <a:prstDash val="solid"/>
          </a:ln>
        </c:spPr>
        <c:txPr>
          <a:bodyPr rot="-2700000" vert="horz"/>
          <a:lstStyle/>
          <a:p>
            <a:pPr>
              <a:defRPr sz="1948" b="1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fi-FI"/>
          </a:p>
        </c:txPr>
        <c:crossAx val="369111456"/>
        <c:crosses val="autoZero"/>
        <c:auto val="1"/>
        <c:lblAlgn val="ctr"/>
        <c:lblOffset val="100"/>
        <c:tickLblSkip val="3"/>
        <c:tickMarkSkip val="4"/>
        <c:noMultiLvlLbl val="0"/>
      </c:catAx>
      <c:valAx>
        <c:axId val="369111456"/>
        <c:scaling>
          <c:orientation val="minMax"/>
          <c:max val="14000"/>
          <c:min val="0"/>
        </c:scaling>
        <c:delete val="0"/>
        <c:axPos val="l"/>
        <c:majorGridlines>
          <c:spPr>
            <a:ln w="3175">
              <a:solidFill>
                <a:schemeClr val="tx1"/>
              </a:solidFill>
              <a:prstDash val="dash"/>
            </a:ln>
          </c:spPr>
        </c:majorGridlines>
        <c:numFmt formatCode="#,##0" sourceLinked="0"/>
        <c:majorTickMark val="out"/>
        <c:minorTickMark val="none"/>
        <c:tickLblPos val="nextTo"/>
        <c:spPr>
          <a:ln w="2843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050" b="0" i="0" u="none" strike="noStrike" baseline="0">
                <a:solidFill>
                  <a:schemeClr val="tx2"/>
                </a:solidFill>
                <a:latin typeface="Verdana" panose="020B0604030504040204" pitchFamily="34" charset="0"/>
                <a:ea typeface="Arial"/>
                <a:cs typeface="Arial"/>
              </a:defRPr>
            </a:pPr>
            <a:endParaRPr lang="fi-FI"/>
          </a:p>
        </c:txPr>
        <c:crossAx val="369111064"/>
        <c:crosses val="autoZero"/>
        <c:crossBetween val="midCat"/>
        <c:majorUnit val="1000"/>
        <c:minorUnit val="500"/>
      </c:valAx>
      <c:spPr>
        <a:noFill/>
        <a:ln w="11372">
          <a:solidFill>
            <a:schemeClr val="tx1"/>
          </a:solidFill>
          <a:prstDash val="solid"/>
        </a:ln>
      </c:spPr>
    </c:plotArea>
    <c:legend>
      <c:legendPos val="r"/>
      <c:layout>
        <c:manualLayout>
          <c:xMode val="edge"/>
          <c:yMode val="edge"/>
          <c:x val="0.86988108704736133"/>
          <c:y val="0.19757124334097242"/>
          <c:w val="0.13011891295263864"/>
          <c:h val="0.61234378114075594"/>
        </c:manualLayout>
      </c:layout>
      <c:overlay val="0"/>
      <c:spPr>
        <a:solidFill>
          <a:schemeClr val="bg1"/>
        </a:solidFill>
        <a:ln w="2843">
          <a:noFill/>
          <a:prstDash val="solid"/>
        </a:ln>
      </c:spPr>
      <c:txPr>
        <a:bodyPr/>
        <a:lstStyle/>
        <a:p>
          <a:pPr>
            <a:defRPr sz="1050" b="0" i="0" u="none" strike="noStrike" baseline="0">
              <a:solidFill>
                <a:schemeClr val="tx2"/>
              </a:solidFill>
              <a:latin typeface="Verdana" panose="020B0604030504040204" pitchFamily="34" charset="0"/>
              <a:ea typeface="Arial"/>
              <a:cs typeface="Arial"/>
            </a:defRPr>
          </a:pPr>
          <a:endParaRPr lang="fi-FI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948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fi-FI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1919674910102741E-2"/>
          <c:y val="4.0749431293150853E-2"/>
          <c:w val="0.78734293607653982"/>
          <c:h val="0.83258046821215703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hteensä</c:v>
                </c:pt>
              </c:strCache>
            </c:strRef>
          </c:tx>
          <c:spPr>
            <a:ln w="38100">
              <a:solidFill>
                <a:schemeClr val="tx2"/>
              </a:solidFill>
              <a:prstDash val="solid"/>
            </a:ln>
          </c:spPr>
          <c:marker>
            <c:symbol val="none"/>
          </c:marker>
          <c:cat>
            <c:strRef>
              <c:f>Sheet1!$A$2:$A$50</c:f>
              <c:strCache>
                <c:ptCount val="46"/>
                <c:pt idx="0">
                  <c:v>2009,IV</c:v>
                </c:pt>
                <c:pt idx="1">
                  <c:v>2010,I</c:v>
                </c:pt>
                <c:pt idx="5">
                  <c:v>2011,I</c:v>
                </c:pt>
                <c:pt idx="9">
                  <c:v>2012,I</c:v>
                </c:pt>
                <c:pt idx="13">
                  <c:v>2013,I</c:v>
                </c:pt>
                <c:pt idx="17">
                  <c:v>2014,I</c:v>
                </c:pt>
                <c:pt idx="21">
                  <c:v>2015,I</c:v>
                </c:pt>
                <c:pt idx="25">
                  <c:v>2016,I</c:v>
                </c:pt>
                <c:pt idx="29">
                  <c:v>2017,I</c:v>
                </c:pt>
                <c:pt idx="33">
                  <c:v>2018,I</c:v>
                </c:pt>
                <c:pt idx="37">
                  <c:v>2019,I</c:v>
                </c:pt>
                <c:pt idx="41">
                  <c:v>2020,I</c:v>
                </c:pt>
                <c:pt idx="45">
                  <c:v>2021,I</c:v>
                </c:pt>
              </c:strCache>
            </c:strRef>
          </c:cat>
          <c:val>
            <c:numRef>
              <c:f>Sheet1!$B$2:$B$50</c:f>
              <c:numCache>
                <c:formatCode>General</c:formatCode>
                <c:ptCount val="49"/>
                <c:pt idx="1">
                  <c:v>2107.6</c:v>
                </c:pt>
                <c:pt idx="2">
                  <c:v>2585.8200000000002</c:v>
                </c:pt>
                <c:pt idx="3">
                  <c:v>2339.98</c:v>
                </c:pt>
                <c:pt idx="4">
                  <c:v>3150.74</c:v>
                </c:pt>
                <c:pt idx="5">
                  <c:v>3345.36</c:v>
                </c:pt>
                <c:pt idx="6">
                  <c:v>4223.74</c:v>
                </c:pt>
                <c:pt idx="7">
                  <c:v>3164.69</c:v>
                </c:pt>
                <c:pt idx="8">
                  <c:v>3696.74</c:v>
                </c:pt>
                <c:pt idx="9">
                  <c:v>3522.63</c:v>
                </c:pt>
                <c:pt idx="10">
                  <c:v>3365.04</c:v>
                </c:pt>
                <c:pt idx="11">
                  <c:v>3073.12</c:v>
                </c:pt>
                <c:pt idx="12">
                  <c:v>3793.2</c:v>
                </c:pt>
                <c:pt idx="13">
                  <c:v>3072.56</c:v>
                </c:pt>
                <c:pt idx="14">
                  <c:v>3349.92</c:v>
                </c:pt>
                <c:pt idx="15">
                  <c:v>3090.63</c:v>
                </c:pt>
                <c:pt idx="16">
                  <c:v>3090.28</c:v>
                </c:pt>
                <c:pt idx="17">
                  <c:v>3773.75</c:v>
                </c:pt>
                <c:pt idx="18">
                  <c:v>4109.17</c:v>
                </c:pt>
                <c:pt idx="19">
                  <c:v>4816.05</c:v>
                </c:pt>
                <c:pt idx="20">
                  <c:v>3816.72</c:v>
                </c:pt>
                <c:pt idx="21">
                  <c:v>3445.42</c:v>
                </c:pt>
                <c:pt idx="22">
                  <c:v>5452.02</c:v>
                </c:pt>
                <c:pt idx="23">
                  <c:v>4114.6899999999996</c:v>
                </c:pt>
                <c:pt idx="24">
                  <c:v>3842.4</c:v>
                </c:pt>
                <c:pt idx="25">
                  <c:v>3509.1</c:v>
                </c:pt>
                <c:pt idx="26">
                  <c:v>3252.92</c:v>
                </c:pt>
                <c:pt idx="27">
                  <c:v>3101.66</c:v>
                </c:pt>
                <c:pt idx="28">
                  <c:v>4118.5200000000004</c:v>
                </c:pt>
                <c:pt idx="29">
                  <c:v>4064.87</c:v>
                </c:pt>
                <c:pt idx="30">
                  <c:v>5875.05</c:v>
                </c:pt>
                <c:pt idx="31">
                  <c:v>3757.27</c:v>
                </c:pt>
                <c:pt idx="32">
                  <c:v>7164.42</c:v>
                </c:pt>
                <c:pt idx="33">
                  <c:v>4768.4399999999996</c:v>
                </c:pt>
                <c:pt idx="34">
                  <c:v>4723.0600000000004</c:v>
                </c:pt>
                <c:pt idx="35">
                  <c:v>4828.17</c:v>
                </c:pt>
                <c:pt idx="36">
                  <c:v>5465.11</c:v>
                </c:pt>
                <c:pt idx="37">
                  <c:v>5390.51</c:v>
                </c:pt>
                <c:pt idx="38">
                  <c:v>4897.79</c:v>
                </c:pt>
                <c:pt idx="39">
                  <c:v>4757.6400000000003</c:v>
                </c:pt>
                <c:pt idx="40">
                  <c:v>5628.63</c:v>
                </c:pt>
                <c:pt idx="41">
                  <c:v>4334.68</c:v>
                </c:pt>
                <c:pt idx="42">
                  <c:v>3321.84</c:v>
                </c:pt>
                <c:pt idx="43">
                  <c:v>3763.33</c:v>
                </c:pt>
                <c:pt idx="44">
                  <c:v>5620.6</c:v>
                </c:pt>
                <c:pt idx="45">
                  <c:v>4555.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439-479B-85F0-B6B7B0DB066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Vientiin</c:v>
                </c:pt>
              </c:strCache>
            </c:strRef>
          </c:tx>
          <c:spPr>
            <a:ln w="38100">
              <a:solidFill>
                <a:schemeClr val="accent1">
                  <a:lumMod val="60000"/>
                  <a:lumOff val="40000"/>
                </a:schemeClr>
              </a:solidFill>
              <a:prstDash val="solid"/>
            </a:ln>
          </c:spPr>
          <c:marker>
            <c:symbol val="none"/>
          </c:marker>
          <c:cat>
            <c:strRef>
              <c:f>Sheet1!$A$2:$A$50</c:f>
              <c:strCache>
                <c:ptCount val="46"/>
                <c:pt idx="0">
                  <c:v>2009,IV</c:v>
                </c:pt>
                <c:pt idx="1">
                  <c:v>2010,I</c:v>
                </c:pt>
                <c:pt idx="5">
                  <c:v>2011,I</c:v>
                </c:pt>
                <c:pt idx="9">
                  <c:v>2012,I</c:v>
                </c:pt>
                <c:pt idx="13">
                  <c:v>2013,I</c:v>
                </c:pt>
                <c:pt idx="17">
                  <c:v>2014,I</c:v>
                </c:pt>
                <c:pt idx="21">
                  <c:v>2015,I</c:v>
                </c:pt>
                <c:pt idx="25">
                  <c:v>2016,I</c:v>
                </c:pt>
                <c:pt idx="29">
                  <c:v>2017,I</c:v>
                </c:pt>
                <c:pt idx="33">
                  <c:v>2018,I</c:v>
                </c:pt>
                <c:pt idx="37">
                  <c:v>2019,I</c:v>
                </c:pt>
                <c:pt idx="41">
                  <c:v>2020,I</c:v>
                </c:pt>
                <c:pt idx="45">
                  <c:v>2021,I</c:v>
                </c:pt>
              </c:strCache>
            </c:strRef>
          </c:cat>
          <c:val>
            <c:numRef>
              <c:f>Sheet1!$C$2:$C$50</c:f>
              <c:numCache>
                <c:formatCode>General</c:formatCode>
                <c:ptCount val="49"/>
                <c:pt idx="1">
                  <c:v>1533.27</c:v>
                </c:pt>
                <c:pt idx="2">
                  <c:v>1883.03</c:v>
                </c:pt>
                <c:pt idx="3">
                  <c:v>1837.1</c:v>
                </c:pt>
                <c:pt idx="4">
                  <c:v>2177.61</c:v>
                </c:pt>
                <c:pt idx="5">
                  <c:v>2301.13</c:v>
                </c:pt>
                <c:pt idx="6">
                  <c:v>3120.89</c:v>
                </c:pt>
                <c:pt idx="7">
                  <c:v>2384.48</c:v>
                </c:pt>
                <c:pt idx="8">
                  <c:v>2763.77</c:v>
                </c:pt>
                <c:pt idx="9">
                  <c:v>2589.79</c:v>
                </c:pt>
                <c:pt idx="10">
                  <c:v>2444.91</c:v>
                </c:pt>
                <c:pt idx="11">
                  <c:v>2258.5300000000002</c:v>
                </c:pt>
                <c:pt idx="12">
                  <c:v>2913.54</c:v>
                </c:pt>
                <c:pt idx="13">
                  <c:v>2294.9699999999998</c:v>
                </c:pt>
                <c:pt idx="14">
                  <c:v>2343.42</c:v>
                </c:pt>
                <c:pt idx="15">
                  <c:v>2334.27</c:v>
                </c:pt>
                <c:pt idx="16">
                  <c:v>2252.2399999999998</c:v>
                </c:pt>
                <c:pt idx="17">
                  <c:v>2666.44</c:v>
                </c:pt>
                <c:pt idx="18">
                  <c:v>2827.78</c:v>
                </c:pt>
                <c:pt idx="19">
                  <c:v>3161.02</c:v>
                </c:pt>
                <c:pt idx="20">
                  <c:v>2759.01</c:v>
                </c:pt>
                <c:pt idx="21">
                  <c:v>2425.63</c:v>
                </c:pt>
                <c:pt idx="22">
                  <c:v>4012.8</c:v>
                </c:pt>
                <c:pt idx="23">
                  <c:v>3302.07</c:v>
                </c:pt>
                <c:pt idx="24">
                  <c:v>2706.8</c:v>
                </c:pt>
                <c:pt idx="25">
                  <c:v>2314.52</c:v>
                </c:pt>
                <c:pt idx="26">
                  <c:v>2170.17</c:v>
                </c:pt>
                <c:pt idx="27">
                  <c:v>2166.1</c:v>
                </c:pt>
                <c:pt idx="28">
                  <c:v>2738.61</c:v>
                </c:pt>
                <c:pt idx="29">
                  <c:v>3018.49</c:v>
                </c:pt>
                <c:pt idx="30">
                  <c:v>4785.2700000000004</c:v>
                </c:pt>
                <c:pt idx="31">
                  <c:v>2797.36</c:v>
                </c:pt>
                <c:pt idx="32">
                  <c:v>5525.55</c:v>
                </c:pt>
                <c:pt idx="33">
                  <c:v>3171.57</c:v>
                </c:pt>
                <c:pt idx="34">
                  <c:v>3559.67</c:v>
                </c:pt>
                <c:pt idx="35">
                  <c:v>3780.45</c:v>
                </c:pt>
                <c:pt idx="36">
                  <c:v>4079.9</c:v>
                </c:pt>
                <c:pt idx="37">
                  <c:v>3901.05</c:v>
                </c:pt>
                <c:pt idx="38">
                  <c:v>3394.74</c:v>
                </c:pt>
                <c:pt idx="39">
                  <c:v>3135.21</c:v>
                </c:pt>
                <c:pt idx="40">
                  <c:v>4387.84</c:v>
                </c:pt>
                <c:pt idx="41">
                  <c:v>3176.21</c:v>
                </c:pt>
                <c:pt idx="42">
                  <c:v>2170.52</c:v>
                </c:pt>
                <c:pt idx="43">
                  <c:v>2640.94</c:v>
                </c:pt>
                <c:pt idx="44">
                  <c:v>3585.95</c:v>
                </c:pt>
                <c:pt idx="45">
                  <c:v>3454.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439-479B-85F0-B6B7B0DB066C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Kotimaahan</c:v>
                </c:pt>
              </c:strCache>
            </c:strRef>
          </c:tx>
          <c:spPr>
            <a:ln w="38100">
              <a:solidFill>
                <a:schemeClr val="accent2"/>
              </a:solidFill>
              <a:prstDash val="solid"/>
            </a:ln>
          </c:spPr>
          <c:marker>
            <c:symbol val="none"/>
          </c:marker>
          <c:cat>
            <c:strRef>
              <c:f>Sheet1!$A$2:$A$50</c:f>
              <c:strCache>
                <c:ptCount val="46"/>
                <c:pt idx="0">
                  <c:v>2009,IV</c:v>
                </c:pt>
                <c:pt idx="1">
                  <c:v>2010,I</c:v>
                </c:pt>
                <c:pt idx="5">
                  <c:v>2011,I</c:v>
                </c:pt>
                <c:pt idx="9">
                  <c:v>2012,I</c:v>
                </c:pt>
                <c:pt idx="13">
                  <c:v>2013,I</c:v>
                </c:pt>
                <c:pt idx="17">
                  <c:v>2014,I</c:v>
                </c:pt>
                <c:pt idx="21">
                  <c:v>2015,I</c:v>
                </c:pt>
                <c:pt idx="25">
                  <c:v>2016,I</c:v>
                </c:pt>
                <c:pt idx="29">
                  <c:v>2017,I</c:v>
                </c:pt>
                <c:pt idx="33">
                  <c:v>2018,I</c:v>
                </c:pt>
                <c:pt idx="37">
                  <c:v>2019,I</c:v>
                </c:pt>
                <c:pt idx="41">
                  <c:v>2020,I</c:v>
                </c:pt>
                <c:pt idx="45">
                  <c:v>2021,I</c:v>
                </c:pt>
              </c:strCache>
            </c:strRef>
          </c:cat>
          <c:val>
            <c:numRef>
              <c:f>Sheet1!$D$2:$D$50</c:f>
              <c:numCache>
                <c:formatCode>General</c:formatCode>
                <c:ptCount val="49"/>
                <c:pt idx="1">
                  <c:v>574.33000000000004</c:v>
                </c:pt>
                <c:pt idx="2">
                  <c:v>702.78</c:v>
                </c:pt>
                <c:pt idx="3">
                  <c:v>502.87</c:v>
                </c:pt>
                <c:pt idx="4">
                  <c:v>973.13</c:v>
                </c:pt>
                <c:pt idx="5">
                  <c:v>1044.23</c:v>
                </c:pt>
                <c:pt idx="6">
                  <c:v>1102.8499999999999</c:v>
                </c:pt>
                <c:pt idx="7">
                  <c:v>780.21</c:v>
                </c:pt>
                <c:pt idx="8">
                  <c:v>932.97</c:v>
                </c:pt>
                <c:pt idx="9">
                  <c:v>932.84</c:v>
                </c:pt>
                <c:pt idx="10">
                  <c:v>920.12</c:v>
                </c:pt>
                <c:pt idx="11">
                  <c:v>814.58</c:v>
                </c:pt>
                <c:pt idx="12">
                  <c:v>879.65</c:v>
                </c:pt>
                <c:pt idx="13">
                  <c:v>777.59</c:v>
                </c:pt>
                <c:pt idx="14">
                  <c:v>1006.49</c:v>
                </c:pt>
                <c:pt idx="15">
                  <c:v>756.36</c:v>
                </c:pt>
                <c:pt idx="16">
                  <c:v>838.04</c:v>
                </c:pt>
                <c:pt idx="17">
                  <c:v>1107.31</c:v>
                </c:pt>
                <c:pt idx="18">
                  <c:v>1281.3900000000001</c:v>
                </c:pt>
                <c:pt idx="19">
                  <c:v>1655.03</c:v>
                </c:pt>
                <c:pt idx="20">
                  <c:v>1057.71</c:v>
                </c:pt>
                <c:pt idx="21">
                  <c:v>1019.8</c:v>
                </c:pt>
                <c:pt idx="22">
                  <c:v>1439.22</c:v>
                </c:pt>
                <c:pt idx="23">
                  <c:v>812.62</c:v>
                </c:pt>
                <c:pt idx="24">
                  <c:v>1135.5999999999999</c:v>
                </c:pt>
                <c:pt idx="25">
                  <c:v>1194.57</c:v>
                </c:pt>
                <c:pt idx="26">
                  <c:v>1082.76</c:v>
                </c:pt>
                <c:pt idx="27">
                  <c:v>935.56</c:v>
                </c:pt>
                <c:pt idx="28">
                  <c:v>1379.91</c:v>
                </c:pt>
                <c:pt idx="29">
                  <c:v>1046.3800000000001</c:v>
                </c:pt>
                <c:pt idx="30">
                  <c:v>1089.78</c:v>
                </c:pt>
                <c:pt idx="31">
                  <c:v>959.91</c:v>
                </c:pt>
                <c:pt idx="32">
                  <c:v>1638.87</c:v>
                </c:pt>
                <c:pt idx="33">
                  <c:v>1596.87</c:v>
                </c:pt>
                <c:pt idx="34">
                  <c:v>1163.4000000000001</c:v>
                </c:pt>
                <c:pt idx="35">
                  <c:v>1047.72</c:v>
                </c:pt>
                <c:pt idx="36">
                  <c:v>1385.21</c:v>
                </c:pt>
                <c:pt idx="37">
                  <c:v>1489.46</c:v>
                </c:pt>
                <c:pt idx="38">
                  <c:v>1503.05</c:v>
                </c:pt>
                <c:pt idx="39">
                  <c:v>1622.42</c:v>
                </c:pt>
                <c:pt idx="40">
                  <c:v>1240.78</c:v>
                </c:pt>
                <c:pt idx="41">
                  <c:v>1158.47</c:v>
                </c:pt>
                <c:pt idx="42">
                  <c:v>1151.32</c:v>
                </c:pt>
                <c:pt idx="43">
                  <c:v>1122.3900000000001</c:v>
                </c:pt>
                <c:pt idx="44">
                  <c:v>2034.65</c:v>
                </c:pt>
                <c:pt idx="45">
                  <c:v>1101.619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439-479B-85F0-B6B7B0DB066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69111064"/>
        <c:axId val="369111456"/>
      </c:lineChart>
      <c:catAx>
        <c:axId val="369111064"/>
        <c:scaling>
          <c:orientation val="minMax"/>
        </c:scaling>
        <c:delete val="0"/>
        <c:axPos val="b"/>
        <c:majorGridlines>
          <c:spPr>
            <a:ln w="3175">
              <a:solidFill>
                <a:schemeClr val="tx1"/>
              </a:solidFill>
              <a:prstDash val="dash"/>
            </a:ln>
          </c:spPr>
        </c:majorGridlines>
        <c:numFmt formatCode="General" sourceLinked="1"/>
        <c:majorTickMark val="out"/>
        <c:minorTickMark val="none"/>
        <c:tickLblPos val="none"/>
        <c:spPr>
          <a:ln w="2843">
            <a:solidFill>
              <a:schemeClr val="tx1"/>
            </a:solidFill>
            <a:prstDash val="solid"/>
          </a:ln>
        </c:spPr>
        <c:txPr>
          <a:bodyPr rot="-2700000" vert="horz"/>
          <a:lstStyle/>
          <a:p>
            <a:pPr>
              <a:defRPr sz="1948" b="1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fi-FI"/>
          </a:p>
        </c:txPr>
        <c:crossAx val="369111456"/>
        <c:crosses val="autoZero"/>
        <c:auto val="1"/>
        <c:lblAlgn val="ctr"/>
        <c:lblOffset val="100"/>
        <c:tickLblSkip val="3"/>
        <c:tickMarkSkip val="4"/>
        <c:noMultiLvlLbl val="0"/>
      </c:catAx>
      <c:valAx>
        <c:axId val="369111456"/>
        <c:scaling>
          <c:orientation val="minMax"/>
          <c:max val="7500"/>
          <c:min val="0"/>
        </c:scaling>
        <c:delete val="0"/>
        <c:axPos val="l"/>
        <c:majorGridlines>
          <c:spPr>
            <a:ln w="3175">
              <a:solidFill>
                <a:schemeClr val="tx1"/>
              </a:solidFill>
              <a:prstDash val="dash"/>
            </a:ln>
          </c:spPr>
        </c:majorGridlines>
        <c:numFmt formatCode="#,##0" sourceLinked="0"/>
        <c:majorTickMark val="out"/>
        <c:minorTickMark val="none"/>
        <c:tickLblPos val="nextTo"/>
        <c:spPr>
          <a:ln w="2843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050" b="0" i="0" u="none" strike="noStrike" baseline="0">
                <a:solidFill>
                  <a:schemeClr val="tx2"/>
                </a:solidFill>
                <a:latin typeface="Verdana" panose="020B0604030504040204" pitchFamily="34" charset="0"/>
                <a:ea typeface="Arial"/>
                <a:cs typeface="Arial"/>
              </a:defRPr>
            </a:pPr>
            <a:endParaRPr lang="fi-FI"/>
          </a:p>
        </c:txPr>
        <c:crossAx val="369111064"/>
        <c:crosses val="autoZero"/>
        <c:crossBetween val="midCat"/>
        <c:majorUnit val="500"/>
        <c:minorUnit val="500"/>
      </c:valAx>
      <c:spPr>
        <a:noFill/>
        <a:ln w="11372">
          <a:solidFill>
            <a:schemeClr val="tx1"/>
          </a:solidFill>
          <a:prstDash val="solid"/>
        </a:ln>
      </c:spPr>
    </c:plotArea>
    <c:legend>
      <c:legendPos val="r"/>
      <c:layout>
        <c:manualLayout>
          <c:xMode val="edge"/>
          <c:yMode val="edge"/>
          <c:x val="0.86988108704736133"/>
          <c:y val="0.19757124334097242"/>
          <c:w val="0.13011891295263864"/>
          <c:h val="0.61234378114075594"/>
        </c:manualLayout>
      </c:layout>
      <c:overlay val="0"/>
      <c:spPr>
        <a:solidFill>
          <a:schemeClr val="bg1"/>
        </a:solidFill>
        <a:ln w="2843">
          <a:noFill/>
          <a:prstDash val="solid"/>
        </a:ln>
      </c:spPr>
      <c:txPr>
        <a:bodyPr/>
        <a:lstStyle/>
        <a:p>
          <a:pPr>
            <a:defRPr sz="1050" b="0" i="0" u="none" strike="noStrike" baseline="0">
              <a:solidFill>
                <a:schemeClr val="tx2"/>
              </a:solidFill>
              <a:latin typeface="Verdana" panose="020B0604030504040204" pitchFamily="34" charset="0"/>
              <a:ea typeface="Arial"/>
              <a:cs typeface="Arial"/>
            </a:defRPr>
          </a:pPr>
          <a:endParaRPr lang="fi-FI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948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fi-FI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8.8616709084461717E-2"/>
          <c:y val="6.1726891542255774E-2"/>
          <c:w val="0.87725631768953072"/>
          <c:h val="0.7879456397854750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Henkilöstö Suomessa </c:v>
                </c:pt>
              </c:strCache>
            </c:strRef>
          </c:tx>
          <c:spPr>
            <a:solidFill>
              <a:srgbClr val="141F94"/>
            </a:solidFill>
            <a:ln w="3195">
              <a:solidFill>
                <a:srgbClr val="000000"/>
              </a:solidFill>
              <a:prstDash val="solid"/>
            </a:ln>
          </c:spPr>
          <c:invertIfNegative val="0"/>
          <c:cat>
            <c:numRef>
              <c:f>Sheet1!$A$2:$A$13</c:f>
              <c:numCache>
                <c:formatCode>General</c:formatCode>
                <c:ptCount val="12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</c:numCache>
            </c:numRef>
          </c:cat>
          <c:val>
            <c:numRef>
              <c:f>Sheet1!$B$2:$B$13</c:f>
              <c:numCache>
                <c:formatCode>#,##0</c:formatCode>
                <c:ptCount val="12"/>
                <c:pt idx="0">
                  <c:v>284200</c:v>
                </c:pt>
                <c:pt idx="1">
                  <c:v>290200</c:v>
                </c:pt>
                <c:pt idx="2">
                  <c:v>296700</c:v>
                </c:pt>
                <c:pt idx="3">
                  <c:v>290700</c:v>
                </c:pt>
                <c:pt idx="4">
                  <c:v>287000</c:v>
                </c:pt>
                <c:pt idx="5">
                  <c:v>288300</c:v>
                </c:pt>
                <c:pt idx="6">
                  <c:v>290300</c:v>
                </c:pt>
                <c:pt idx="7">
                  <c:v>297100</c:v>
                </c:pt>
                <c:pt idx="8">
                  <c:v>307400</c:v>
                </c:pt>
                <c:pt idx="9">
                  <c:v>313600</c:v>
                </c:pt>
                <c:pt idx="10">
                  <c:v>311011.00648529379</c:v>
                </c:pt>
                <c:pt idx="11">
                  <c:v>309573.340239311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CEA-4536-86D0-AE95E4D4FA5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enkilöstö tytäryrityksissä ulkomailla </c:v>
                </c:pt>
              </c:strCache>
            </c:strRef>
          </c:tx>
          <c:spPr>
            <a:solidFill>
              <a:srgbClr val="FF805C"/>
            </a:solidFill>
            <a:ln w="3195">
              <a:solidFill>
                <a:schemeClr val="tx1"/>
              </a:solidFill>
              <a:prstDash val="solid"/>
            </a:ln>
          </c:spPr>
          <c:invertIfNegative val="0"/>
          <c:cat>
            <c:numRef>
              <c:f>Sheet1!$A$2:$A$13</c:f>
              <c:numCache>
                <c:formatCode>General</c:formatCode>
                <c:ptCount val="12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</c:numCache>
            </c:numRef>
          </c:cat>
          <c:val>
            <c:numRef>
              <c:f>Sheet1!$C$2:$C$13</c:f>
              <c:numCache>
                <c:formatCode>#,##0</c:formatCode>
                <c:ptCount val="12"/>
                <c:pt idx="0">
                  <c:v>304473</c:v>
                </c:pt>
                <c:pt idx="1">
                  <c:v>327105</c:v>
                </c:pt>
                <c:pt idx="2">
                  <c:v>302967</c:v>
                </c:pt>
                <c:pt idx="3">
                  <c:v>287327</c:v>
                </c:pt>
                <c:pt idx="4">
                  <c:v>273143</c:v>
                </c:pt>
                <c:pt idx="5">
                  <c:v>255440.5</c:v>
                </c:pt>
                <c:pt idx="6">
                  <c:v>284942.7</c:v>
                </c:pt>
                <c:pt idx="7">
                  <c:v>283597</c:v>
                </c:pt>
                <c:pt idx="8">
                  <c:v>287471</c:v>
                </c:pt>
                <c:pt idx="9">
                  <c:v>297636</c:v>
                </c:pt>
                <c:pt idx="10">
                  <c:v>2881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CEA-4536-86D0-AE95E4D4FA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370638952"/>
        <c:axId val="319901952"/>
      </c:barChart>
      <c:catAx>
        <c:axId val="37063895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3195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 algn="ctr">
              <a:defRPr lang="fi-FI" sz="1050" b="0" i="0" u="none" strike="noStrike" kern="1200" baseline="0">
                <a:solidFill>
                  <a:srgbClr val="000000"/>
                </a:solidFill>
                <a:latin typeface="+mn-lt"/>
                <a:ea typeface="Arial"/>
                <a:cs typeface="Arial"/>
              </a:defRPr>
            </a:pPr>
            <a:endParaRPr lang="fi-FI"/>
          </a:p>
        </c:txPr>
        <c:crossAx val="319901952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319901952"/>
        <c:scaling>
          <c:orientation val="minMax"/>
          <c:max val="350000"/>
          <c:min val="150000"/>
        </c:scaling>
        <c:delete val="0"/>
        <c:axPos val="l"/>
        <c:majorGridlines>
          <c:spPr>
            <a:ln w="3195">
              <a:solidFill>
                <a:schemeClr val="tx2"/>
              </a:solidFill>
              <a:prstDash val="dash"/>
            </a:ln>
          </c:spPr>
        </c:majorGridlines>
        <c:numFmt formatCode="#,##0" sourceLinked="1"/>
        <c:majorTickMark val="out"/>
        <c:minorTickMark val="none"/>
        <c:tickLblPos val="nextTo"/>
        <c:spPr>
          <a:ln w="3195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050" b="0" i="0" u="none" strike="noStrike" baseline="0">
                <a:solidFill>
                  <a:srgbClr val="000000"/>
                </a:solidFill>
                <a:latin typeface="+mn-lt"/>
                <a:ea typeface="Arial"/>
                <a:cs typeface="Arial"/>
              </a:defRPr>
            </a:pPr>
            <a:endParaRPr lang="fi-FI"/>
          </a:p>
        </c:txPr>
        <c:crossAx val="370638952"/>
        <c:crosses val="autoZero"/>
        <c:crossBetween val="between"/>
        <c:majorUnit val="20000"/>
      </c:valAx>
      <c:spPr>
        <a:noFill/>
        <a:ln w="12778">
          <a:solidFill>
            <a:schemeClr val="tx1"/>
          </a:solidFill>
          <a:prstDash val="solid"/>
        </a:ln>
      </c:spPr>
    </c:plotArea>
    <c:legend>
      <c:legendPos val="r"/>
      <c:layout>
        <c:manualLayout>
          <c:xMode val="edge"/>
          <c:yMode val="edge"/>
          <c:x val="7.4608904933814682E-2"/>
          <c:y val="0.93476126285096073"/>
          <c:w val="0.89169675090252709"/>
          <c:h val="6.3344576417293907E-2"/>
        </c:manualLayout>
      </c:layout>
      <c:overlay val="0"/>
      <c:spPr>
        <a:noFill/>
        <a:ln w="25556">
          <a:noFill/>
        </a:ln>
      </c:spPr>
      <c:txPr>
        <a:bodyPr/>
        <a:lstStyle/>
        <a:p>
          <a:pPr algn="ctr">
            <a:defRPr lang="fi-FI" sz="1050" b="0" i="0" u="none" strike="noStrike" kern="1200" baseline="0">
              <a:solidFill>
                <a:srgbClr val="000000"/>
              </a:solidFill>
              <a:latin typeface="+mn-lt"/>
              <a:ea typeface="Arial"/>
              <a:cs typeface="Arial"/>
            </a:defRPr>
          </a:pPr>
          <a:endParaRPr lang="fi-FI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07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fi-FI"/>
    </a:p>
  </c:txPr>
  <c:externalData r:id="rId2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ul1!$B$1</c:f>
              <c:strCache>
                <c:ptCount val="1"/>
                <c:pt idx="0">
                  <c:v>Henkilöstömäärän muutos edelliseen neljännekseen verrattuna</c:v>
                </c:pt>
              </c:strCache>
            </c:strRef>
          </c:tx>
          <c:spPr>
            <a:solidFill>
              <a:srgbClr val="141F94"/>
            </a:solidFill>
            <a:ln>
              <a:noFill/>
            </a:ln>
            <a:effectLst/>
          </c:spPr>
          <c:invertIfNegative val="0"/>
          <c:cat>
            <c:strRef>
              <c:f>Taul1!$A$2:$A$28</c:f>
              <c:strCache>
                <c:ptCount val="27"/>
                <c:pt idx="0">
                  <c:v>2014Q3</c:v>
                </c:pt>
                <c:pt idx="1">
                  <c:v>2014Q4</c:v>
                </c:pt>
                <c:pt idx="2">
                  <c:v>2015Q1</c:v>
                </c:pt>
                <c:pt idx="3">
                  <c:v>2015Q2</c:v>
                </c:pt>
                <c:pt idx="4">
                  <c:v>2015Q3</c:v>
                </c:pt>
                <c:pt idx="5">
                  <c:v>2015Q4</c:v>
                </c:pt>
                <c:pt idx="6">
                  <c:v>2016Q1</c:v>
                </c:pt>
                <c:pt idx="7">
                  <c:v>2016Q2</c:v>
                </c:pt>
                <c:pt idx="8">
                  <c:v>2016Q3</c:v>
                </c:pt>
                <c:pt idx="9">
                  <c:v>2016Q4</c:v>
                </c:pt>
                <c:pt idx="10">
                  <c:v>2017Q1</c:v>
                </c:pt>
                <c:pt idx="11">
                  <c:v>2017Q2</c:v>
                </c:pt>
                <c:pt idx="12">
                  <c:v>2017Q3</c:v>
                </c:pt>
                <c:pt idx="13">
                  <c:v>2017Q4</c:v>
                </c:pt>
                <c:pt idx="14">
                  <c:v>2018Q1</c:v>
                </c:pt>
                <c:pt idx="15">
                  <c:v>2018Q2</c:v>
                </c:pt>
                <c:pt idx="16">
                  <c:v>2018Q3</c:v>
                </c:pt>
                <c:pt idx="17">
                  <c:v>2018Q4</c:v>
                </c:pt>
                <c:pt idx="18">
                  <c:v>2019Q1</c:v>
                </c:pt>
                <c:pt idx="19">
                  <c:v>2019Q2</c:v>
                </c:pt>
                <c:pt idx="20">
                  <c:v>2019Q3</c:v>
                </c:pt>
                <c:pt idx="21">
                  <c:v>2019Q4</c:v>
                </c:pt>
                <c:pt idx="22">
                  <c:v>2020Q1</c:v>
                </c:pt>
                <c:pt idx="23">
                  <c:v>2020Q2</c:v>
                </c:pt>
                <c:pt idx="24">
                  <c:v>2020Q3</c:v>
                </c:pt>
                <c:pt idx="25">
                  <c:v>2020Q4</c:v>
                </c:pt>
                <c:pt idx="26">
                  <c:v>2021Q1</c:v>
                </c:pt>
              </c:strCache>
            </c:strRef>
          </c:cat>
          <c:val>
            <c:numRef>
              <c:f>Taul1!$B$2:$B$28</c:f>
              <c:numCache>
                <c:formatCode>General</c:formatCode>
                <c:ptCount val="27"/>
                <c:pt idx="0">
                  <c:v>-1725.0472980454797</c:v>
                </c:pt>
                <c:pt idx="1">
                  <c:v>-2772.9277301111724</c:v>
                </c:pt>
                <c:pt idx="2">
                  <c:v>500</c:v>
                </c:pt>
                <c:pt idx="3">
                  <c:v>1464.6108658704907</c:v>
                </c:pt>
                <c:pt idx="4">
                  <c:v>-1043.8445894536562</c:v>
                </c:pt>
                <c:pt idx="5">
                  <c:v>-2242.6661510239355</c:v>
                </c:pt>
                <c:pt idx="6">
                  <c:v>-423.86039099266054</c:v>
                </c:pt>
                <c:pt idx="7">
                  <c:v>783.61812865873799</c:v>
                </c:pt>
                <c:pt idx="8">
                  <c:v>-1880.5028571592993</c:v>
                </c:pt>
                <c:pt idx="9">
                  <c:v>577.85174448625185</c:v>
                </c:pt>
                <c:pt idx="10">
                  <c:v>2477</c:v>
                </c:pt>
                <c:pt idx="11">
                  <c:v>3855</c:v>
                </c:pt>
                <c:pt idx="12">
                  <c:v>1906</c:v>
                </c:pt>
                <c:pt idx="13">
                  <c:v>1556</c:v>
                </c:pt>
                <c:pt idx="14">
                  <c:v>2395</c:v>
                </c:pt>
                <c:pt idx="15">
                  <c:v>4631</c:v>
                </c:pt>
                <c:pt idx="16" formatCode="#,##0">
                  <c:v>4578</c:v>
                </c:pt>
                <c:pt idx="17">
                  <c:v>756</c:v>
                </c:pt>
                <c:pt idx="18">
                  <c:v>3414</c:v>
                </c:pt>
                <c:pt idx="19">
                  <c:v>2632</c:v>
                </c:pt>
                <c:pt idx="20">
                  <c:v>1555</c:v>
                </c:pt>
                <c:pt idx="21">
                  <c:v>-757</c:v>
                </c:pt>
                <c:pt idx="22">
                  <c:v>-379</c:v>
                </c:pt>
                <c:pt idx="23">
                  <c:v>-2512</c:v>
                </c:pt>
                <c:pt idx="24">
                  <c:v>-1443</c:v>
                </c:pt>
                <c:pt idx="25" formatCode="#,##0">
                  <c:v>-1674.7485992709408</c:v>
                </c:pt>
                <c:pt idx="26">
                  <c:v>11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606-482A-AD06-8D94355D6B8A}"/>
            </c:ext>
          </c:extLst>
        </c:ser>
        <c:ser>
          <c:idx val="1"/>
          <c:order val="1"/>
          <c:tx>
            <c:strRef>
              <c:f>Taul1!$C$1</c:f>
              <c:strCache>
                <c:ptCount val="1"/>
                <c:pt idx="0">
                  <c:v>Neljänneksen aikana rekrytoitujen määrä</c:v>
                </c:pt>
              </c:strCache>
            </c:strRef>
          </c:tx>
          <c:spPr>
            <a:solidFill>
              <a:srgbClr val="FF805C"/>
            </a:solidFill>
            <a:ln>
              <a:noFill/>
            </a:ln>
            <a:effectLst/>
          </c:spPr>
          <c:invertIfNegative val="0"/>
          <c:cat>
            <c:strRef>
              <c:f>Taul1!$A$2:$A$28</c:f>
              <c:strCache>
                <c:ptCount val="27"/>
                <c:pt idx="0">
                  <c:v>2014Q3</c:v>
                </c:pt>
                <c:pt idx="1">
                  <c:v>2014Q4</c:v>
                </c:pt>
                <c:pt idx="2">
                  <c:v>2015Q1</c:v>
                </c:pt>
                <c:pt idx="3">
                  <c:v>2015Q2</c:v>
                </c:pt>
                <c:pt idx="4">
                  <c:v>2015Q3</c:v>
                </c:pt>
                <c:pt idx="5">
                  <c:v>2015Q4</c:v>
                </c:pt>
                <c:pt idx="6">
                  <c:v>2016Q1</c:v>
                </c:pt>
                <c:pt idx="7">
                  <c:v>2016Q2</c:v>
                </c:pt>
                <c:pt idx="8">
                  <c:v>2016Q3</c:v>
                </c:pt>
                <c:pt idx="9">
                  <c:v>2016Q4</c:v>
                </c:pt>
                <c:pt idx="10">
                  <c:v>2017Q1</c:v>
                </c:pt>
                <c:pt idx="11">
                  <c:v>2017Q2</c:v>
                </c:pt>
                <c:pt idx="12">
                  <c:v>2017Q3</c:v>
                </c:pt>
                <c:pt idx="13">
                  <c:v>2017Q4</c:v>
                </c:pt>
                <c:pt idx="14">
                  <c:v>2018Q1</c:v>
                </c:pt>
                <c:pt idx="15">
                  <c:v>2018Q2</c:v>
                </c:pt>
                <c:pt idx="16">
                  <c:v>2018Q3</c:v>
                </c:pt>
                <c:pt idx="17">
                  <c:v>2018Q4</c:v>
                </c:pt>
                <c:pt idx="18">
                  <c:v>2019Q1</c:v>
                </c:pt>
                <c:pt idx="19">
                  <c:v>2019Q2</c:v>
                </c:pt>
                <c:pt idx="20">
                  <c:v>2019Q3</c:v>
                </c:pt>
                <c:pt idx="21">
                  <c:v>2019Q4</c:v>
                </c:pt>
                <c:pt idx="22">
                  <c:v>2020Q1</c:v>
                </c:pt>
                <c:pt idx="23">
                  <c:v>2020Q2</c:v>
                </c:pt>
                <c:pt idx="24">
                  <c:v>2020Q3</c:v>
                </c:pt>
                <c:pt idx="25">
                  <c:v>2020Q4</c:v>
                </c:pt>
                <c:pt idx="26">
                  <c:v>2021Q1</c:v>
                </c:pt>
              </c:strCache>
            </c:strRef>
          </c:cat>
          <c:val>
            <c:numRef>
              <c:f>Taul1!$C$2:$C$28</c:f>
              <c:numCache>
                <c:formatCode>#,##0</c:formatCode>
                <c:ptCount val="27"/>
                <c:pt idx="0">
                  <c:v>6039.6008389420494</c:v>
                </c:pt>
                <c:pt idx="1">
                  <c:v>4797.7897681127743</c:v>
                </c:pt>
                <c:pt idx="2">
                  <c:v>7851.4313289360571</c:v>
                </c:pt>
                <c:pt idx="3">
                  <c:v>6685.9122554600544</c:v>
                </c:pt>
                <c:pt idx="4" formatCode="General">
                  <c:v>7700</c:v>
                </c:pt>
                <c:pt idx="5">
                  <c:v>6176.3555772662821</c:v>
                </c:pt>
                <c:pt idx="6">
                  <c:v>7537.782188740196</c:v>
                </c:pt>
                <c:pt idx="7">
                  <c:v>6857.0390325418875</c:v>
                </c:pt>
                <c:pt idx="8" formatCode="General">
                  <c:v>6818</c:v>
                </c:pt>
                <c:pt idx="9" formatCode="General">
                  <c:v>7300</c:v>
                </c:pt>
                <c:pt idx="10" formatCode="General">
                  <c:v>11000</c:v>
                </c:pt>
                <c:pt idx="11" formatCode="General">
                  <c:v>11600</c:v>
                </c:pt>
                <c:pt idx="12" formatCode="General">
                  <c:v>10900</c:v>
                </c:pt>
                <c:pt idx="13" formatCode="General">
                  <c:v>9000</c:v>
                </c:pt>
                <c:pt idx="14">
                  <c:v>11000</c:v>
                </c:pt>
                <c:pt idx="15" formatCode="General">
                  <c:v>14600</c:v>
                </c:pt>
                <c:pt idx="16" formatCode="General">
                  <c:v>14700</c:v>
                </c:pt>
                <c:pt idx="17" formatCode="General">
                  <c:v>9600</c:v>
                </c:pt>
                <c:pt idx="18">
                  <c:v>12400</c:v>
                </c:pt>
                <c:pt idx="19" formatCode="General">
                  <c:v>11400</c:v>
                </c:pt>
                <c:pt idx="20" formatCode="General">
                  <c:v>9400</c:v>
                </c:pt>
                <c:pt idx="21" formatCode="General">
                  <c:v>7300</c:v>
                </c:pt>
                <c:pt idx="22">
                  <c:v>10400</c:v>
                </c:pt>
                <c:pt idx="23" formatCode="General">
                  <c:v>5900</c:v>
                </c:pt>
                <c:pt idx="24" formatCode="General">
                  <c:v>5500</c:v>
                </c:pt>
                <c:pt idx="25" formatCode="General">
                  <c:v>6500</c:v>
                </c:pt>
                <c:pt idx="26" formatCode="General">
                  <c:v>95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606-482A-AD06-8D94355D6B8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overlap val="-21"/>
        <c:axId val="368210920"/>
        <c:axId val="368211704"/>
      </c:barChart>
      <c:catAx>
        <c:axId val="368210920"/>
        <c:scaling>
          <c:orientation val="minMax"/>
        </c:scaling>
        <c:delete val="0"/>
        <c:axPos val="b"/>
        <c:numFmt formatCode="General" sourceLinked="1"/>
        <c:majorTickMark val="cross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fi-FI" sz="105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368211704"/>
        <c:crosses val="autoZero"/>
        <c:auto val="1"/>
        <c:lblAlgn val="ctr"/>
        <c:lblOffset val="0"/>
        <c:tickLblSkip val="2"/>
        <c:noMultiLvlLbl val="0"/>
      </c:catAx>
      <c:valAx>
        <c:axId val="368211704"/>
        <c:scaling>
          <c:orientation val="minMax"/>
          <c:min val="-4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36821092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2.1876346646111267E-2"/>
          <c:y val="0.91633433036153356"/>
          <c:w val="0.95491074975467694"/>
          <c:h val="6.603157705948033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>
            <a:defRPr lang="fi-FI" sz="1050" b="0" i="0" u="none" strike="noStrike" kern="1200" baseline="0">
              <a:solidFill>
                <a:srgbClr val="000000"/>
              </a:solidFill>
              <a:latin typeface="+mn-lt"/>
              <a:ea typeface="+mn-ea"/>
              <a:cs typeface="+mn-cs"/>
            </a:defRPr>
          </a:pPr>
          <a:endParaRPr lang="fi-FI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i-FI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ul1!$B$1</c:f>
              <c:strCache>
                <c:ptCount val="1"/>
                <c:pt idx="0">
                  <c:v>23.10.2020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Taul1!$A$2:$A$4</c:f>
              <c:strCache>
                <c:ptCount val="3"/>
                <c:pt idx="0">
                  <c:v>Liikevaihto on vuonna 2021 pienempi kuin 2020</c:v>
                </c:pt>
                <c:pt idx="1">
                  <c:v>Liikevaihto on vuonna 2021 suurin piirtein sama kuin 2020</c:v>
                </c:pt>
                <c:pt idx="2">
                  <c:v>Liikevaihto on vuonna 2021 suurempi kuin 2020</c:v>
                </c:pt>
              </c:strCache>
            </c:strRef>
          </c:cat>
          <c:val>
            <c:numRef>
              <c:f>Taul1!$B$2:$B$4</c:f>
              <c:numCache>
                <c:formatCode>0.0\ %</c:formatCode>
                <c:ptCount val="3"/>
                <c:pt idx="0">
                  <c:v>0.32661290322580644</c:v>
                </c:pt>
                <c:pt idx="1">
                  <c:v>0.3911290322580645</c:v>
                </c:pt>
                <c:pt idx="2">
                  <c:v>0.282258064516129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14E-48AE-A4F0-BFE891DEC9B3}"/>
            </c:ext>
          </c:extLst>
        </c:ser>
        <c:ser>
          <c:idx val="1"/>
          <c:order val="1"/>
          <c:tx>
            <c:strRef>
              <c:f>Taul1!$C$1</c:f>
              <c:strCache>
                <c:ptCount val="1"/>
                <c:pt idx="0">
                  <c:v>7.12.2020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Taul1!$A$2:$A$4</c:f>
              <c:strCache>
                <c:ptCount val="3"/>
                <c:pt idx="0">
                  <c:v>Liikevaihto on vuonna 2021 pienempi kuin 2020</c:v>
                </c:pt>
                <c:pt idx="1">
                  <c:v>Liikevaihto on vuonna 2021 suurin piirtein sama kuin 2020</c:v>
                </c:pt>
                <c:pt idx="2">
                  <c:v>Liikevaihto on vuonna 2021 suurempi kuin 2020</c:v>
                </c:pt>
              </c:strCache>
            </c:strRef>
          </c:cat>
          <c:val>
            <c:numRef>
              <c:f>Taul1!$C$2:$C$4</c:f>
              <c:numCache>
                <c:formatCode>0.0\ %</c:formatCode>
                <c:ptCount val="3"/>
                <c:pt idx="0">
                  <c:v>0.31015037593984962</c:v>
                </c:pt>
                <c:pt idx="1">
                  <c:v>0.35902255639097747</c:v>
                </c:pt>
                <c:pt idx="2">
                  <c:v>0.330827067669172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4FA-40DA-A860-D085E95D0357}"/>
            </c:ext>
          </c:extLst>
        </c:ser>
        <c:ser>
          <c:idx val="2"/>
          <c:order val="2"/>
          <c:tx>
            <c:strRef>
              <c:f>Taul1!$D$1</c:f>
              <c:strCache>
                <c:ptCount val="1"/>
                <c:pt idx="0">
                  <c:v>4.2.202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Taul1!$A$2:$A$4</c:f>
              <c:strCache>
                <c:ptCount val="3"/>
                <c:pt idx="0">
                  <c:v>Liikevaihto on vuonna 2021 pienempi kuin 2020</c:v>
                </c:pt>
                <c:pt idx="1">
                  <c:v>Liikevaihto on vuonna 2021 suurin piirtein sama kuin 2020</c:v>
                </c:pt>
                <c:pt idx="2">
                  <c:v>Liikevaihto on vuonna 2021 suurempi kuin 2020</c:v>
                </c:pt>
              </c:strCache>
            </c:strRef>
          </c:cat>
          <c:val>
            <c:numRef>
              <c:f>Taul1!$D$2:$D$4</c:f>
              <c:numCache>
                <c:formatCode>0.0\ %</c:formatCode>
                <c:ptCount val="3"/>
                <c:pt idx="0">
                  <c:v>0.26003824091778205</c:v>
                </c:pt>
                <c:pt idx="1">
                  <c:v>0.36711281070745699</c:v>
                </c:pt>
                <c:pt idx="2">
                  <c:v>0.372848948374761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29C-4EC9-8BC7-5B0CD9B7A0C1}"/>
            </c:ext>
          </c:extLst>
        </c:ser>
        <c:ser>
          <c:idx val="3"/>
          <c:order val="3"/>
          <c:tx>
            <c:strRef>
              <c:f>Taul1!$E$1</c:f>
              <c:strCache>
                <c:ptCount val="1"/>
                <c:pt idx="0">
                  <c:v>29.4.2021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Taul1!$A$2:$A$4</c:f>
              <c:strCache>
                <c:ptCount val="3"/>
                <c:pt idx="0">
                  <c:v>Liikevaihto on vuonna 2021 pienempi kuin 2020</c:v>
                </c:pt>
                <c:pt idx="1">
                  <c:v>Liikevaihto on vuonna 2021 suurin piirtein sama kuin 2020</c:v>
                </c:pt>
                <c:pt idx="2">
                  <c:v>Liikevaihto on vuonna 2021 suurempi kuin 2020</c:v>
                </c:pt>
              </c:strCache>
            </c:strRef>
          </c:cat>
          <c:val>
            <c:numRef>
              <c:f>Taul1!$E$2:$E$4</c:f>
              <c:numCache>
                <c:formatCode>0.0\ %</c:formatCode>
                <c:ptCount val="3"/>
                <c:pt idx="0">
                  <c:v>0.22717149220489977</c:v>
                </c:pt>
                <c:pt idx="1">
                  <c:v>0.33407572383073497</c:v>
                </c:pt>
                <c:pt idx="2">
                  <c:v>0.438752783964365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6EF-48C3-99C7-8A691E5548E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09125328"/>
        <c:axId val="409127296"/>
      </c:barChart>
      <c:catAx>
        <c:axId val="4091253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fi-FI" sz="105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409127296"/>
        <c:crosses val="autoZero"/>
        <c:auto val="1"/>
        <c:lblAlgn val="ctr"/>
        <c:lblOffset val="100"/>
        <c:noMultiLvlLbl val="0"/>
      </c:catAx>
      <c:valAx>
        <c:axId val="4091272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409125328"/>
        <c:crosses val="autoZero"/>
        <c:crossBetween val="between"/>
        <c:majorUnit val="0.1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0" i="0" u="none" strike="noStrike" kern="1200" baseline="0">
              <a:solidFill>
                <a:srgbClr val="000000"/>
              </a:solidFill>
              <a:latin typeface="+mn-lt"/>
              <a:ea typeface="+mn-ea"/>
              <a:cs typeface="+mn-cs"/>
            </a:defRPr>
          </a:pPr>
          <a:endParaRPr lang="fi-FI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i-FI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28584"/>
            <a:ext cx="2945659" cy="496332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l">
              <a:defRPr sz="1200"/>
            </a:lvl1pPr>
          </a:lstStyle>
          <a:p>
            <a:r>
              <a:rPr lang="en-US" sz="11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knologiateollisuus</a:t>
            </a:r>
            <a:endParaRPr lang="en-US" sz="11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4" y="9428584"/>
            <a:ext cx="2945659" cy="496332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r">
              <a:defRPr sz="1200"/>
            </a:lvl1pPr>
          </a:lstStyle>
          <a:p>
            <a:fld id="{6F2C89C3-1639-C64F-B7DC-4038F10D3C80}" type="slidenum">
              <a:rPr sz="11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‹#›</a:t>
            </a:fld>
            <a:endParaRPr lang="en-US" sz="11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6375265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2" tIns="45716" rIns="91432" bIns="45716" rtlCol="0" anchor="ctr"/>
          <a:lstStyle/>
          <a:p>
            <a:endParaRPr lang="fi-FI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4"/>
            <a:ext cx="5438140" cy="4466987"/>
          </a:xfrm>
          <a:prstGeom prst="rect">
            <a:avLst/>
          </a:prstGeom>
        </p:spPr>
        <p:txBody>
          <a:bodyPr vert="horz" lIns="91432" tIns="45716" rIns="91432" bIns="45716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28584"/>
            <a:ext cx="2945659" cy="496332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l">
              <a:defRPr sz="11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fi-FI" dirty="0"/>
              <a:t>Teknologiateollisuu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28584"/>
            <a:ext cx="2945659" cy="496332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r">
              <a:defRPr sz="11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B5A0B3B4-F971-4AD3-B530-DE860EFC07D2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4248243881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679871" rtl="0" eaLnBrk="1" latinLnBrk="0" hangingPunct="1">
      <a:defRPr sz="900" kern="1200">
        <a:solidFill>
          <a:schemeClr val="tx1"/>
        </a:solidFill>
        <a:latin typeface="Verdana" panose="020B0604030504040204" pitchFamily="34" charset="0"/>
        <a:ea typeface="Verdana" panose="020B0604030504040204" pitchFamily="34" charset="0"/>
        <a:cs typeface="Verdana" panose="020B0604030504040204" pitchFamily="34" charset="0"/>
      </a:defRPr>
    </a:lvl1pPr>
    <a:lvl2pPr marL="339932" algn="l" defTabSz="679871" rtl="0" eaLnBrk="1" latinLnBrk="0" hangingPunct="1">
      <a:defRPr sz="900" kern="1200">
        <a:solidFill>
          <a:schemeClr val="tx1"/>
        </a:solidFill>
        <a:latin typeface="Verdana" panose="020B0604030504040204" pitchFamily="34" charset="0"/>
        <a:ea typeface="Verdana" panose="020B0604030504040204" pitchFamily="34" charset="0"/>
        <a:cs typeface="Verdana" panose="020B0604030504040204" pitchFamily="34" charset="0"/>
      </a:defRPr>
    </a:lvl2pPr>
    <a:lvl3pPr marL="679871" algn="l" defTabSz="679871" rtl="0" eaLnBrk="1" latinLnBrk="0" hangingPunct="1">
      <a:defRPr sz="900" kern="1200">
        <a:solidFill>
          <a:schemeClr val="tx1"/>
        </a:solidFill>
        <a:latin typeface="Verdana" panose="020B0604030504040204" pitchFamily="34" charset="0"/>
        <a:ea typeface="Verdana" panose="020B0604030504040204" pitchFamily="34" charset="0"/>
        <a:cs typeface="Verdana" panose="020B0604030504040204" pitchFamily="34" charset="0"/>
      </a:defRPr>
    </a:lvl3pPr>
    <a:lvl4pPr marL="1019807" algn="l" defTabSz="679871" rtl="0" eaLnBrk="1" latinLnBrk="0" hangingPunct="1">
      <a:defRPr sz="900" kern="1200">
        <a:solidFill>
          <a:schemeClr val="tx1"/>
        </a:solidFill>
        <a:latin typeface="Verdana" panose="020B0604030504040204" pitchFamily="34" charset="0"/>
        <a:ea typeface="Verdana" panose="020B0604030504040204" pitchFamily="34" charset="0"/>
        <a:cs typeface="Verdana" panose="020B0604030504040204" pitchFamily="34" charset="0"/>
      </a:defRPr>
    </a:lvl4pPr>
    <a:lvl5pPr marL="1359744" algn="l" defTabSz="679871" rtl="0" eaLnBrk="1" latinLnBrk="0" hangingPunct="1">
      <a:defRPr sz="900" kern="1200">
        <a:solidFill>
          <a:schemeClr val="tx1"/>
        </a:solidFill>
        <a:latin typeface="Verdana" panose="020B0604030504040204" pitchFamily="34" charset="0"/>
        <a:ea typeface="Verdana" panose="020B0604030504040204" pitchFamily="34" charset="0"/>
        <a:cs typeface="Verdana" panose="020B0604030504040204" pitchFamily="34" charset="0"/>
      </a:defRPr>
    </a:lvl5pPr>
    <a:lvl6pPr marL="1699681" algn="l" defTabSz="679871" rtl="0" eaLnBrk="1" latinLnBrk="0" hangingPunct="1">
      <a:defRPr sz="893" kern="1200">
        <a:solidFill>
          <a:schemeClr val="tx1"/>
        </a:solidFill>
        <a:latin typeface="+mn-lt"/>
        <a:ea typeface="+mn-ea"/>
        <a:cs typeface="+mn-cs"/>
      </a:defRPr>
    </a:lvl6pPr>
    <a:lvl7pPr marL="2039614" algn="l" defTabSz="679871" rtl="0" eaLnBrk="1" latinLnBrk="0" hangingPunct="1">
      <a:defRPr sz="893" kern="1200">
        <a:solidFill>
          <a:schemeClr val="tx1"/>
        </a:solidFill>
        <a:latin typeface="+mn-lt"/>
        <a:ea typeface="+mn-ea"/>
        <a:cs typeface="+mn-cs"/>
      </a:defRPr>
    </a:lvl7pPr>
    <a:lvl8pPr marL="2379548" algn="l" defTabSz="679871" rtl="0" eaLnBrk="1" latinLnBrk="0" hangingPunct="1">
      <a:defRPr sz="893" kern="1200">
        <a:solidFill>
          <a:schemeClr val="tx1"/>
        </a:solidFill>
        <a:latin typeface="+mn-lt"/>
        <a:ea typeface="+mn-ea"/>
        <a:cs typeface="+mn-cs"/>
      </a:defRPr>
    </a:lvl8pPr>
    <a:lvl9pPr marL="2719486" algn="l" defTabSz="679871" rtl="0" eaLnBrk="1" latinLnBrk="0" hangingPunct="1">
      <a:defRPr sz="893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fi-FI" sz="1400" dirty="0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5A0B3B4-F971-4AD3-B530-DE860EFC07D2}" type="slidenum">
              <a:rPr lang="fi-FI" smtClean="0"/>
              <a:pPr/>
              <a:t>2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41596781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fi-FI" sz="1400" dirty="0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5A0B3B4-F971-4AD3-B530-DE860EFC07D2}" type="slidenum">
              <a:rPr lang="fi-FI" smtClean="0"/>
              <a:pPr/>
              <a:t>4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26142603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5A0B3B4-F971-4AD3-B530-DE860EFC07D2}" type="slidenum">
              <a:rPr lang="fi-FI" smtClean="0"/>
              <a:pPr/>
              <a:t>5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68899726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5A0B3B4-F971-4AD3-B530-DE860EFC07D2}" type="slidenum">
              <a:rPr lang="fi-FI" smtClean="0"/>
              <a:pPr/>
              <a:t>6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1141274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5A0B3B4-F971-4AD3-B530-DE860EFC07D2}" type="slidenum">
              <a:rPr lang="fi-FI" smtClean="0"/>
              <a:pPr/>
              <a:t>11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75455404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fi-FI" sz="1400" dirty="0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5A0B3B4-F971-4AD3-B530-DE860EFC07D2}" type="slidenum">
              <a:rPr lang="fi-FI" smtClean="0"/>
              <a:pPr/>
              <a:t>18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41681369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4" Type="http://schemas.openxmlformats.org/officeDocument/2006/relationships/image" Target="../media/image5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Layouts/_rels/slideLayout35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5.png"/><Relationship Id="rId18" Type="http://schemas.openxmlformats.org/officeDocument/2006/relationships/image" Target="../media/image20.png"/><Relationship Id="rId26" Type="http://schemas.openxmlformats.org/officeDocument/2006/relationships/image" Target="../media/image28.png"/><Relationship Id="rId39" Type="http://schemas.openxmlformats.org/officeDocument/2006/relationships/image" Target="../media/image41.png"/><Relationship Id="rId21" Type="http://schemas.openxmlformats.org/officeDocument/2006/relationships/image" Target="../media/image23.png"/><Relationship Id="rId34" Type="http://schemas.openxmlformats.org/officeDocument/2006/relationships/image" Target="../media/image36.png"/><Relationship Id="rId42" Type="http://schemas.openxmlformats.org/officeDocument/2006/relationships/image" Target="../media/image44.png"/><Relationship Id="rId47" Type="http://schemas.openxmlformats.org/officeDocument/2006/relationships/image" Target="../media/image49.png"/><Relationship Id="rId50" Type="http://schemas.openxmlformats.org/officeDocument/2006/relationships/image" Target="../media/image52.png"/><Relationship Id="rId55" Type="http://schemas.openxmlformats.org/officeDocument/2006/relationships/image" Target="../media/image57.png"/><Relationship Id="rId7" Type="http://schemas.openxmlformats.org/officeDocument/2006/relationships/image" Target="../media/image9.png"/><Relationship Id="rId12" Type="http://schemas.openxmlformats.org/officeDocument/2006/relationships/image" Target="../media/image14.png"/><Relationship Id="rId17" Type="http://schemas.openxmlformats.org/officeDocument/2006/relationships/image" Target="../media/image19.png"/><Relationship Id="rId25" Type="http://schemas.openxmlformats.org/officeDocument/2006/relationships/image" Target="../media/image27.png"/><Relationship Id="rId33" Type="http://schemas.openxmlformats.org/officeDocument/2006/relationships/image" Target="../media/image35.png"/><Relationship Id="rId38" Type="http://schemas.openxmlformats.org/officeDocument/2006/relationships/image" Target="../media/image40.png"/><Relationship Id="rId46" Type="http://schemas.openxmlformats.org/officeDocument/2006/relationships/image" Target="../media/image48.png"/><Relationship Id="rId59" Type="http://schemas.openxmlformats.org/officeDocument/2006/relationships/image" Target="../media/image61.emf"/><Relationship Id="rId2" Type="http://schemas.openxmlformats.org/officeDocument/2006/relationships/tags" Target="../tags/tag13.xml"/><Relationship Id="rId16" Type="http://schemas.openxmlformats.org/officeDocument/2006/relationships/image" Target="../media/image18.png"/><Relationship Id="rId20" Type="http://schemas.openxmlformats.org/officeDocument/2006/relationships/image" Target="../media/image22.png"/><Relationship Id="rId29" Type="http://schemas.openxmlformats.org/officeDocument/2006/relationships/image" Target="../media/image31.png"/><Relationship Id="rId41" Type="http://schemas.openxmlformats.org/officeDocument/2006/relationships/image" Target="../media/image43.png"/><Relationship Id="rId54" Type="http://schemas.openxmlformats.org/officeDocument/2006/relationships/image" Target="../media/image56.png"/><Relationship Id="rId1" Type="http://schemas.openxmlformats.org/officeDocument/2006/relationships/tags" Target="../tags/tag12.xml"/><Relationship Id="rId6" Type="http://schemas.openxmlformats.org/officeDocument/2006/relationships/image" Target="../media/image8.png"/><Relationship Id="rId11" Type="http://schemas.openxmlformats.org/officeDocument/2006/relationships/image" Target="../media/image13.png"/><Relationship Id="rId24" Type="http://schemas.openxmlformats.org/officeDocument/2006/relationships/image" Target="../media/image26.png"/><Relationship Id="rId32" Type="http://schemas.openxmlformats.org/officeDocument/2006/relationships/image" Target="../media/image34.png"/><Relationship Id="rId37" Type="http://schemas.openxmlformats.org/officeDocument/2006/relationships/image" Target="../media/image39.png"/><Relationship Id="rId40" Type="http://schemas.openxmlformats.org/officeDocument/2006/relationships/image" Target="../media/image42.png"/><Relationship Id="rId45" Type="http://schemas.openxmlformats.org/officeDocument/2006/relationships/image" Target="../media/image47.png"/><Relationship Id="rId53" Type="http://schemas.openxmlformats.org/officeDocument/2006/relationships/image" Target="../media/image55.png"/><Relationship Id="rId58" Type="http://schemas.openxmlformats.org/officeDocument/2006/relationships/image" Target="../media/image60.emf"/><Relationship Id="rId5" Type="http://schemas.openxmlformats.org/officeDocument/2006/relationships/image" Target="../media/image6.emf"/><Relationship Id="rId15" Type="http://schemas.openxmlformats.org/officeDocument/2006/relationships/image" Target="../media/image17.png"/><Relationship Id="rId23" Type="http://schemas.openxmlformats.org/officeDocument/2006/relationships/image" Target="../media/image25.png"/><Relationship Id="rId28" Type="http://schemas.openxmlformats.org/officeDocument/2006/relationships/image" Target="../media/image30.png"/><Relationship Id="rId36" Type="http://schemas.openxmlformats.org/officeDocument/2006/relationships/image" Target="../media/image38.png"/><Relationship Id="rId49" Type="http://schemas.openxmlformats.org/officeDocument/2006/relationships/image" Target="../media/image51.png"/><Relationship Id="rId57" Type="http://schemas.openxmlformats.org/officeDocument/2006/relationships/image" Target="../media/image59.png"/><Relationship Id="rId10" Type="http://schemas.openxmlformats.org/officeDocument/2006/relationships/image" Target="../media/image12.png"/><Relationship Id="rId19" Type="http://schemas.openxmlformats.org/officeDocument/2006/relationships/image" Target="../media/image21.png"/><Relationship Id="rId31" Type="http://schemas.openxmlformats.org/officeDocument/2006/relationships/image" Target="../media/image33.png"/><Relationship Id="rId44" Type="http://schemas.openxmlformats.org/officeDocument/2006/relationships/image" Target="../media/image46.png"/><Relationship Id="rId52" Type="http://schemas.openxmlformats.org/officeDocument/2006/relationships/image" Target="../media/image54.png"/><Relationship Id="rId4" Type="http://schemas.openxmlformats.org/officeDocument/2006/relationships/oleObject" Target="../embeddings/oleObject7.bin"/><Relationship Id="rId9" Type="http://schemas.openxmlformats.org/officeDocument/2006/relationships/image" Target="../media/image11.png"/><Relationship Id="rId14" Type="http://schemas.openxmlformats.org/officeDocument/2006/relationships/image" Target="../media/image16.png"/><Relationship Id="rId22" Type="http://schemas.openxmlformats.org/officeDocument/2006/relationships/image" Target="../media/image24.png"/><Relationship Id="rId27" Type="http://schemas.openxmlformats.org/officeDocument/2006/relationships/image" Target="../media/image29.png"/><Relationship Id="rId30" Type="http://schemas.openxmlformats.org/officeDocument/2006/relationships/image" Target="../media/image32.png"/><Relationship Id="rId35" Type="http://schemas.openxmlformats.org/officeDocument/2006/relationships/image" Target="../media/image37.png"/><Relationship Id="rId43" Type="http://schemas.openxmlformats.org/officeDocument/2006/relationships/image" Target="../media/image45.png"/><Relationship Id="rId48" Type="http://schemas.openxmlformats.org/officeDocument/2006/relationships/image" Target="../media/image50.png"/><Relationship Id="rId56" Type="http://schemas.openxmlformats.org/officeDocument/2006/relationships/image" Target="../media/image58.png"/><Relationship Id="rId8" Type="http://schemas.openxmlformats.org/officeDocument/2006/relationships/image" Target="../media/image10.png"/><Relationship Id="rId51" Type="http://schemas.openxmlformats.org/officeDocument/2006/relationships/image" Target="../media/image53.png"/><Relationship Id="rId3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dia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Kuva 2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072269" y="1966957"/>
            <a:ext cx="4730093" cy="11725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1411044"/>
      </p:ext>
    </p:extLst>
  </p:cSld>
  <p:clrMapOvr>
    <a:masterClrMapping/>
  </p:clrMapOvr>
  <p:transition spd="med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tekstille ja kuvalle - violetti">
    <p:bg>
      <p:bgPr>
        <a:solidFill>
          <a:srgbClr val="8A0FA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Kuvan paikkamerkki 6"/>
          <p:cNvSpPr>
            <a:spLocks noGrp="1"/>
          </p:cNvSpPr>
          <p:nvPr>
            <p:ph type="pic" sz="quarter" idx="18"/>
          </p:nvPr>
        </p:nvSpPr>
        <p:spPr>
          <a:xfrm>
            <a:off x="5090400" y="0"/>
            <a:ext cx="40536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bg1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9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4B4512B-9268-4DA6-A4DE-9BAC66E0AE0F}" type="datetime1">
              <a:rPr lang="fi-FI" smtClean="0"/>
              <a:t>28.4.2021</a:t>
            </a:fld>
            <a:endParaRPr lang="fi-FI" dirty="0"/>
          </a:p>
        </p:txBody>
      </p:sp>
      <p:sp>
        <p:nvSpPr>
          <p:cNvPr id="10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2"/>
          <p:cNvSpPr>
            <a:spLocks noGrp="1"/>
          </p:cNvSpPr>
          <p:nvPr>
            <p:ph idx="21"/>
          </p:nvPr>
        </p:nvSpPr>
        <p:spPr>
          <a:xfrm>
            <a:off x="1072800" y="1585226"/>
            <a:ext cx="38448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  <a:lvl2pPr indent="-158400">
              <a:buSzPct val="125000"/>
              <a:defRPr sz="1300" baseline="0">
                <a:solidFill>
                  <a:schemeClr val="bg1"/>
                </a:solidFill>
              </a:defRPr>
            </a:lvl2pPr>
            <a:lvl3pPr indent="-158400">
              <a:buSzPct val="125000"/>
              <a:defRPr sz="1100">
                <a:solidFill>
                  <a:schemeClr val="bg1"/>
                </a:solidFill>
              </a:defRPr>
            </a:lvl3pPr>
            <a:lvl4pPr indent="-158400">
              <a:buSzPct val="125000"/>
              <a:defRPr sz="1000">
                <a:solidFill>
                  <a:schemeClr val="bg1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8" name="Tekstin paikkamerkki 28"/>
          <p:cNvSpPr>
            <a:spLocks noGrp="1"/>
          </p:cNvSpPr>
          <p:nvPr>
            <p:ph type="body" sz="quarter" idx="22" hasCustomPrompt="1"/>
          </p:nvPr>
        </p:nvSpPr>
        <p:spPr>
          <a:xfrm>
            <a:off x="1072800" y="1102950"/>
            <a:ext cx="38448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762622885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- pinkki">
    <p:bg>
      <p:bgPr>
        <a:solidFill>
          <a:srgbClr val="FF00B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uva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004" y="370433"/>
            <a:ext cx="437200" cy="437174"/>
          </a:xfrm>
          <a:prstGeom prst="rect">
            <a:avLst/>
          </a:prstGeom>
        </p:spPr>
      </p:pic>
      <p:sp>
        <p:nvSpPr>
          <p:cNvPr id="14" name="Tekstin paikkamerkki 28"/>
          <p:cNvSpPr>
            <a:spLocks noGrp="1"/>
          </p:cNvSpPr>
          <p:nvPr>
            <p:ph type="body" sz="quarter" idx="15" hasCustomPrompt="1"/>
          </p:nvPr>
        </p:nvSpPr>
        <p:spPr>
          <a:xfrm>
            <a:off x="1072800" y="1924882"/>
            <a:ext cx="6977283" cy="1165268"/>
          </a:xfrm>
          <a:prstGeom prst="rect">
            <a:avLst/>
          </a:prstGeom>
        </p:spPr>
        <p:txBody>
          <a:bodyPr/>
          <a:lstStyle>
            <a:lvl1pPr marL="10800" indent="0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5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chemeClr val="bg1"/>
                </a:solidFill>
              </a:defRPr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7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AF34066-C849-43D6-AD11-EC5B4E0FCE81}" type="datetime1">
              <a:rPr lang="fi-FI" smtClean="0"/>
              <a:t>28.4.2021</a:t>
            </a:fld>
            <a:endParaRPr lang="fi-FI" dirty="0"/>
          </a:p>
        </p:txBody>
      </p:sp>
      <p:sp>
        <p:nvSpPr>
          <p:cNvPr id="18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080886621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tekstille ja kuvalle - pinkki">
    <p:bg>
      <p:bgPr>
        <a:solidFill>
          <a:srgbClr val="FF00B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Kuvan paikkamerkki 6"/>
          <p:cNvSpPr>
            <a:spLocks noGrp="1"/>
          </p:cNvSpPr>
          <p:nvPr>
            <p:ph type="pic" sz="quarter" idx="18"/>
          </p:nvPr>
        </p:nvSpPr>
        <p:spPr>
          <a:xfrm>
            <a:off x="5090400" y="0"/>
            <a:ext cx="40536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bg1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9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1DAFD31-6E2D-43E4-B45F-A91916303127}" type="datetime1">
              <a:rPr lang="fi-FI" smtClean="0"/>
              <a:t>28.4.2021</a:t>
            </a:fld>
            <a:endParaRPr lang="fi-FI" dirty="0"/>
          </a:p>
        </p:txBody>
      </p:sp>
      <p:sp>
        <p:nvSpPr>
          <p:cNvPr id="10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2"/>
          <p:cNvSpPr>
            <a:spLocks noGrp="1"/>
          </p:cNvSpPr>
          <p:nvPr>
            <p:ph idx="21"/>
          </p:nvPr>
        </p:nvSpPr>
        <p:spPr>
          <a:xfrm>
            <a:off x="1072800" y="1585226"/>
            <a:ext cx="38448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  <a:lvl2pPr indent="-158400">
              <a:buSzPct val="125000"/>
              <a:defRPr sz="1300" baseline="0">
                <a:solidFill>
                  <a:schemeClr val="bg1"/>
                </a:solidFill>
              </a:defRPr>
            </a:lvl2pPr>
            <a:lvl3pPr indent="-158400">
              <a:buSzPct val="125000"/>
              <a:defRPr sz="1100">
                <a:solidFill>
                  <a:schemeClr val="bg1"/>
                </a:solidFill>
              </a:defRPr>
            </a:lvl3pPr>
            <a:lvl4pPr indent="-158400">
              <a:buSzPct val="125000"/>
              <a:defRPr sz="1000">
                <a:solidFill>
                  <a:schemeClr val="bg1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8" name="Tekstin paikkamerkki 28"/>
          <p:cNvSpPr>
            <a:spLocks noGrp="1"/>
          </p:cNvSpPr>
          <p:nvPr>
            <p:ph type="body" sz="quarter" idx="22" hasCustomPrompt="1"/>
          </p:nvPr>
        </p:nvSpPr>
        <p:spPr>
          <a:xfrm>
            <a:off x="1072800" y="1102950"/>
            <a:ext cx="38448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150421713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- mandariini">
    <p:bg>
      <p:bgPr>
        <a:solidFill>
          <a:srgbClr val="FF8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uva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004" y="370433"/>
            <a:ext cx="437200" cy="437174"/>
          </a:xfrm>
          <a:prstGeom prst="rect">
            <a:avLst/>
          </a:prstGeom>
        </p:spPr>
      </p:pic>
      <p:sp>
        <p:nvSpPr>
          <p:cNvPr id="10" name="Tekstin paikkamerkki 28"/>
          <p:cNvSpPr>
            <a:spLocks noGrp="1"/>
          </p:cNvSpPr>
          <p:nvPr>
            <p:ph type="body" sz="quarter" idx="15" hasCustomPrompt="1"/>
          </p:nvPr>
        </p:nvSpPr>
        <p:spPr>
          <a:xfrm>
            <a:off x="1072800" y="1924882"/>
            <a:ext cx="6977283" cy="1165268"/>
          </a:xfrm>
          <a:prstGeom prst="rect">
            <a:avLst/>
          </a:prstGeom>
        </p:spPr>
        <p:txBody>
          <a:bodyPr/>
          <a:lstStyle>
            <a:lvl1pPr marL="10800" indent="0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2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chemeClr val="bg1"/>
                </a:solidFill>
              </a:defRPr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4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05A29F8-3631-43D8-937B-CB2D984A1FF3}" type="datetime1">
              <a:rPr lang="fi-FI" smtClean="0"/>
              <a:t>28.4.2021</a:t>
            </a:fld>
            <a:endParaRPr lang="fi-FI" dirty="0"/>
          </a:p>
        </p:txBody>
      </p:sp>
      <p:sp>
        <p:nvSpPr>
          <p:cNvPr id="15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641818466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tekstille ja kuvalle - mandariini">
    <p:bg>
      <p:bgPr>
        <a:solidFill>
          <a:srgbClr val="FF8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Kuvan paikkamerkki 6"/>
          <p:cNvSpPr>
            <a:spLocks noGrp="1"/>
          </p:cNvSpPr>
          <p:nvPr>
            <p:ph type="pic" sz="quarter" idx="18"/>
          </p:nvPr>
        </p:nvSpPr>
        <p:spPr>
          <a:xfrm>
            <a:off x="5090400" y="0"/>
            <a:ext cx="40536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bg1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9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A1FFB15-5351-4C69-B4D2-8C0154A2BCAF}" type="datetime1">
              <a:rPr lang="fi-FI" smtClean="0"/>
              <a:t>28.4.2021</a:t>
            </a:fld>
            <a:endParaRPr lang="fi-FI" dirty="0"/>
          </a:p>
        </p:txBody>
      </p:sp>
      <p:sp>
        <p:nvSpPr>
          <p:cNvPr id="10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2"/>
          <p:cNvSpPr>
            <a:spLocks noGrp="1"/>
          </p:cNvSpPr>
          <p:nvPr>
            <p:ph idx="21"/>
          </p:nvPr>
        </p:nvSpPr>
        <p:spPr>
          <a:xfrm>
            <a:off x="1072800" y="1585226"/>
            <a:ext cx="38448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  <a:lvl2pPr indent="-158400">
              <a:buSzPct val="125000"/>
              <a:defRPr sz="1300" baseline="0">
                <a:solidFill>
                  <a:schemeClr val="bg1"/>
                </a:solidFill>
              </a:defRPr>
            </a:lvl2pPr>
            <a:lvl3pPr indent="-158400">
              <a:buSzPct val="125000"/>
              <a:defRPr sz="1100">
                <a:solidFill>
                  <a:schemeClr val="bg1"/>
                </a:solidFill>
              </a:defRPr>
            </a:lvl3pPr>
            <a:lvl4pPr indent="-158400">
              <a:buSzPct val="125000"/>
              <a:defRPr sz="1000">
                <a:solidFill>
                  <a:schemeClr val="bg1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8" name="Tekstin paikkamerkki 28"/>
          <p:cNvSpPr>
            <a:spLocks noGrp="1"/>
          </p:cNvSpPr>
          <p:nvPr>
            <p:ph type="body" sz="quarter" idx="22" hasCustomPrompt="1"/>
          </p:nvPr>
        </p:nvSpPr>
        <p:spPr>
          <a:xfrm>
            <a:off x="1072800" y="1102950"/>
            <a:ext cx="38448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17453004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- omena">
    <p:bg>
      <p:bgPr>
        <a:solidFill>
          <a:srgbClr val="85E8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uva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004" y="370433"/>
            <a:ext cx="437200" cy="437174"/>
          </a:xfrm>
          <a:prstGeom prst="rect">
            <a:avLst/>
          </a:prstGeom>
        </p:spPr>
      </p:pic>
      <p:sp>
        <p:nvSpPr>
          <p:cNvPr id="10" name="Tekstin paikkamerkki 28"/>
          <p:cNvSpPr>
            <a:spLocks noGrp="1"/>
          </p:cNvSpPr>
          <p:nvPr>
            <p:ph type="body" sz="quarter" idx="15" hasCustomPrompt="1"/>
          </p:nvPr>
        </p:nvSpPr>
        <p:spPr>
          <a:xfrm>
            <a:off x="1072800" y="1924882"/>
            <a:ext cx="6977283" cy="1165268"/>
          </a:xfrm>
          <a:prstGeom prst="rect">
            <a:avLst/>
          </a:prstGeom>
        </p:spPr>
        <p:txBody>
          <a:bodyPr/>
          <a:lstStyle>
            <a:lvl1pPr marL="10800" indent="0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2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chemeClr val="bg1"/>
                </a:solidFill>
              </a:defRPr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4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B4C9FC2-AB49-4BC7-8E34-F35776C6F0E4}" type="datetime1">
              <a:rPr lang="fi-FI" smtClean="0"/>
              <a:t>28.4.2021</a:t>
            </a:fld>
            <a:endParaRPr lang="fi-FI" dirty="0"/>
          </a:p>
        </p:txBody>
      </p:sp>
      <p:sp>
        <p:nvSpPr>
          <p:cNvPr id="15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667850046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tekstille ja kuvalle - omena">
    <p:bg>
      <p:bgPr>
        <a:solidFill>
          <a:srgbClr val="85E8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Kuvan paikkamerkki 6"/>
          <p:cNvSpPr>
            <a:spLocks noGrp="1"/>
          </p:cNvSpPr>
          <p:nvPr>
            <p:ph type="pic" sz="quarter" idx="18"/>
          </p:nvPr>
        </p:nvSpPr>
        <p:spPr>
          <a:xfrm>
            <a:off x="5090400" y="0"/>
            <a:ext cx="40536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bg1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9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FD90D18-063C-4F97-88EB-7B998FCF1C84}" type="datetime1">
              <a:rPr lang="fi-FI" smtClean="0"/>
              <a:t>28.4.2021</a:t>
            </a:fld>
            <a:endParaRPr lang="fi-FI" dirty="0"/>
          </a:p>
        </p:txBody>
      </p:sp>
      <p:sp>
        <p:nvSpPr>
          <p:cNvPr id="10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2"/>
          <p:cNvSpPr>
            <a:spLocks noGrp="1"/>
          </p:cNvSpPr>
          <p:nvPr>
            <p:ph idx="21"/>
          </p:nvPr>
        </p:nvSpPr>
        <p:spPr>
          <a:xfrm>
            <a:off x="1072800" y="1585225"/>
            <a:ext cx="38448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  <a:lvl2pPr indent="-158400">
              <a:buSzPct val="125000"/>
              <a:defRPr sz="1300" baseline="0">
                <a:solidFill>
                  <a:schemeClr val="bg1"/>
                </a:solidFill>
              </a:defRPr>
            </a:lvl2pPr>
            <a:lvl3pPr indent="-158400">
              <a:buSzPct val="125000"/>
              <a:defRPr sz="1100">
                <a:solidFill>
                  <a:schemeClr val="bg1"/>
                </a:solidFill>
              </a:defRPr>
            </a:lvl3pPr>
            <a:lvl4pPr indent="-158400">
              <a:buSzPct val="125000"/>
              <a:defRPr sz="1000">
                <a:solidFill>
                  <a:schemeClr val="bg1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8" name="Tekstin paikkamerkki 28"/>
          <p:cNvSpPr>
            <a:spLocks noGrp="1"/>
          </p:cNvSpPr>
          <p:nvPr>
            <p:ph type="body" sz="quarter" idx="22" hasCustomPrompt="1"/>
          </p:nvPr>
        </p:nvSpPr>
        <p:spPr>
          <a:xfrm>
            <a:off x="1072800" y="1102950"/>
            <a:ext cx="38448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639826258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- sitruuna">
    <p:bg>
      <p:bgPr>
        <a:solidFill>
          <a:srgbClr val="FFFF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Kuva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624" y="368923"/>
            <a:ext cx="437056" cy="437032"/>
          </a:xfrm>
          <a:prstGeom prst="rect">
            <a:avLst/>
          </a:prstGeom>
        </p:spPr>
      </p:pic>
      <p:sp>
        <p:nvSpPr>
          <p:cNvPr id="10" name="Tekstin paikkamerkki 28"/>
          <p:cNvSpPr>
            <a:spLocks noGrp="1"/>
          </p:cNvSpPr>
          <p:nvPr>
            <p:ph type="body" sz="quarter" idx="15" hasCustomPrompt="1"/>
          </p:nvPr>
        </p:nvSpPr>
        <p:spPr>
          <a:xfrm>
            <a:off x="1072800" y="1924882"/>
            <a:ext cx="6977283" cy="1165268"/>
          </a:xfrm>
          <a:prstGeom prst="rect">
            <a:avLst/>
          </a:prstGeom>
        </p:spPr>
        <p:txBody>
          <a:bodyPr/>
          <a:lstStyle>
            <a:lvl1pPr marL="10800" indent="0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1" baseline="0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2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rgbClr val="000000"/>
                </a:solidFill>
              </a:defRPr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4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0F905F96-8735-44CC-A79D-9FF4592D6200}" type="datetime1">
              <a:rPr lang="fi-FI" smtClean="0"/>
              <a:t>28.4.2021</a:t>
            </a:fld>
            <a:endParaRPr lang="fi-FI" dirty="0"/>
          </a:p>
        </p:txBody>
      </p:sp>
      <p:sp>
        <p:nvSpPr>
          <p:cNvPr id="15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549499557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tekstille ja kuvalle - sitruuna">
    <p:bg>
      <p:bgPr>
        <a:solidFill>
          <a:srgbClr val="FFFF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Kuvan paikkamerkki 6"/>
          <p:cNvSpPr>
            <a:spLocks noGrp="1"/>
          </p:cNvSpPr>
          <p:nvPr>
            <p:ph type="pic" sz="quarter" idx="18"/>
          </p:nvPr>
        </p:nvSpPr>
        <p:spPr>
          <a:xfrm>
            <a:off x="5090400" y="0"/>
            <a:ext cx="40536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rgbClr val="000000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9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4D1D5393-FFB8-4AFB-965F-DF835FFEFFC2}" type="datetime1">
              <a:rPr lang="fi-FI" smtClean="0"/>
              <a:t>28.4.2021</a:t>
            </a:fld>
            <a:endParaRPr lang="fi-FI" dirty="0"/>
          </a:p>
        </p:txBody>
      </p:sp>
      <p:sp>
        <p:nvSpPr>
          <p:cNvPr id="10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2"/>
          <p:cNvSpPr>
            <a:spLocks noGrp="1"/>
          </p:cNvSpPr>
          <p:nvPr>
            <p:ph idx="21"/>
          </p:nvPr>
        </p:nvSpPr>
        <p:spPr>
          <a:xfrm>
            <a:off x="1072800" y="1585226"/>
            <a:ext cx="38448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rgbClr val="000000"/>
                </a:solidFill>
              </a:defRPr>
            </a:lvl1pPr>
            <a:lvl2pPr indent="-158400">
              <a:buSzPct val="125000"/>
              <a:defRPr sz="1300" baseline="0">
                <a:solidFill>
                  <a:srgbClr val="000000"/>
                </a:solidFill>
              </a:defRPr>
            </a:lvl2pPr>
            <a:lvl3pPr indent="-158400">
              <a:buSzPct val="125000"/>
              <a:defRPr sz="1100">
                <a:solidFill>
                  <a:srgbClr val="000000"/>
                </a:solidFill>
              </a:defRPr>
            </a:lvl3pPr>
            <a:lvl4pPr indent="-158400">
              <a:buSzPct val="125000"/>
              <a:defRPr sz="1000">
                <a:solidFill>
                  <a:srgbClr val="000000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8" name="Tekstin paikkamerkki 28"/>
          <p:cNvSpPr>
            <a:spLocks noGrp="1"/>
          </p:cNvSpPr>
          <p:nvPr>
            <p:ph type="body" sz="quarter" idx="22" hasCustomPrompt="1"/>
          </p:nvPr>
        </p:nvSpPr>
        <p:spPr>
          <a:xfrm>
            <a:off x="1072800" y="1102950"/>
            <a:ext cx="38448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97754279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dia teksti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Kuva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624" y="368923"/>
            <a:ext cx="437056" cy="437032"/>
          </a:xfrm>
          <a:prstGeom prst="rect">
            <a:avLst/>
          </a:prstGeom>
        </p:spPr>
      </p:pic>
      <p:sp>
        <p:nvSpPr>
          <p:cNvPr id="14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/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5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/>
          <a:p>
            <a:fld id="{1F9AB61F-25F5-4BAC-AFD2-7CF6AA8759C3}" type="datetime1">
              <a:rPr lang="fi-FI" smtClean="0"/>
              <a:t>28.4.2021</a:t>
            </a:fld>
            <a:endParaRPr lang="fi-FI" dirty="0"/>
          </a:p>
        </p:txBody>
      </p:sp>
      <p:sp>
        <p:nvSpPr>
          <p:cNvPr id="17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/>
          <a:p>
            <a:r>
              <a:rPr lang="fi-FI" dirty="0"/>
              <a:t>Teknologiateollisuus</a:t>
            </a:r>
          </a:p>
        </p:txBody>
      </p:sp>
      <p:sp>
        <p:nvSpPr>
          <p:cNvPr id="9" name="Tekstin paikkamerkki 3"/>
          <p:cNvSpPr>
            <a:spLocks noGrp="1"/>
          </p:cNvSpPr>
          <p:nvPr>
            <p:ph type="body" sz="quarter" idx="18" hasCustomPrompt="1"/>
          </p:nvPr>
        </p:nvSpPr>
        <p:spPr>
          <a:xfrm>
            <a:off x="252000" y="290513"/>
            <a:ext cx="4320000" cy="250837"/>
          </a:xfrm>
          <a:prstGeom prst="rect">
            <a:avLst/>
          </a:prstGeom>
        </p:spPr>
        <p:txBody>
          <a:bodyPr anchor="t"/>
          <a:lstStyle>
            <a:lvl1pPr marL="2520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0" b="0" kern="1200" spc="0" baseline="0">
                <a:solidFill>
                  <a:schemeClr val="tx1"/>
                </a:solidFill>
              </a:defRPr>
            </a:lvl1pPr>
            <a:lvl2pPr marL="314865" indent="0">
              <a:buFontTx/>
              <a:buNone/>
              <a:defRPr/>
            </a:lvl2pPr>
            <a:lvl3pPr marL="629724" indent="0">
              <a:buFontTx/>
              <a:buNone/>
              <a:defRPr/>
            </a:lvl3pPr>
            <a:lvl4pPr marL="944589" indent="0">
              <a:buFontTx/>
              <a:buNone/>
              <a:defRPr/>
            </a:lvl4pPr>
            <a:lvl5pPr marL="1267851" indent="0">
              <a:buFontTx/>
              <a:buNone/>
              <a:defRPr/>
            </a:lvl5pPr>
          </a:lstStyle>
          <a:p>
            <a:pPr lvl="0"/>
            <a:r>
              <a:rPr lang="en-US" dirty="0" err="1"/>
              <a:t>Väliotsikko</a:t>
            </a:r>
            <a:r>
              <a:rPr lang="en-US" dirty="0"/>
              <a:t> </a:t>
            </a:r>
            <a:r>
              <a:rPr lang="en-US" dirty="0" err="1"/>
              <a:t>yläviitteenä</a:t>
            </a:r>
            <a:endParaRPr lang="fi-FI" dirty="0"/>
          </a:p>
        </p:txBody>
      </p:sp>
      <p:sp>
        <p:nvSpPr>
          <p:cNvPr id="21" name="Tekstin paikkamerkki 2"/>
          <p:cNvSpPr>
            <a:spLocks noGrp="1"/>
          </p:cNvSpPr>
          <p:nvPr>
            <p:ph idx="19"/>
          </p:nvPr>
        </p:nvSpPr>
        <p:spPr>
          <a:xfrm>
            <a:off x="1072800" y="1582404"/>
            <a:ext cx="7171200" cy="289434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rgbClr val="000000"/>
                </a:solidFill>
              </a:defRPr>
            </a:lvl1pPr>
            <a:lvl2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300" baseline="0">
                <a:solidFill>
                  <a:srgbClr val="000000"/>
                </a:solidFill>
              </a:defRPr>
            </a:lvl2pPr>
            <a:lvl3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050">
                <a:solidFill>
                  <a:srgbClr val="000000"/>
                </a:solidFill>
              </a:defRPr>
            </a:lvl3pPr>
            <a:lvl4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050">
                <a:solidFill>
                  <a:srgbClr val="000000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22" name="Tekstin paikkamerkki 28"/>
          <p:cNvSpPr>
            <a:spLocks noGrp="1"/>
          </p:cNvSpPr>
          <p:nvPr>
            <p:ph type="body" sz="quarter" idx="20" hasCustomPrompt="1"/>
          </p:nvPr>
        </p:nvSpPr>
        <p:spPr>
          <a:xfrm>
            <a:off x="1072800" y="1102950"/>
            <a:ext cx="71712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63290165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dia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uva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004" y="370433"/>
            <a:ext cx="437200" cy="437174"/>
          </a:xfrm>
          <a:prstGeom prst="rect">
            <a:avLst/>
          </a:prstGeom>
        </p:spPr>
      </p:pic>
      <p:sp>
        <p:nvSpPr>
          <p:cNvPr id="9" name="Tekstin paikkamerkki 28"/>
          <p:cNvSpPr>
            <a:spLocks noGrp="1"/>
          </p:cNvSpPr>
          <p:nvPr>
            <p:ph type="body" sz="quarter" idx="15" hasCustomPrompt="1"/>
          </p:nvPr>
        </p:nvSpPr>
        <p:spPr>
          <a:xfrm>
            <a:off x="1072800" y="1881898"/>
            <a:ext cx="6977283" cy="1165268"/>
          </a:xfrm>
          <a:prstGeom prst="rect">
            <a:avLst/>
          </a:prstGeom>
        </p:spPr>
        <p:txBody>
          <a:bodyPr>
            <a:normAutofit/>
          </a:bodyPr>
          <a:lstStyle>
            <a:lvl1pPr marL="1080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6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pää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0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chemeClr val="bg1"/>
                </a:solidFill>
              </a:defRPr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2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553C366-6A2C-43B9-A437-B827E0484441}" type="datetime1">
              <a:rPr lang="fi-FI" smtClean="0"/>
              <a:t>28.4.2021</a:t>
            </a:fld>
            <a:endParaRPr lang="fi-FI" dirty="0"/>
          </a:p>
        </p:txBody>
      </p:sp>
      <p:sp>
        <p:nvSpPr>
          <p:cNvPr id="14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540390374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dia tekstille 2-palst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Kuva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624" y="368923"/>
            <a:ext cx="437056" cy="437032"/>
          </a:xfrm>
          <a:prstGeom prst="rect">
            <a:avLst/>
          </a:prstGeom>
        </p:spPr>
      </p:pic>
      <p:sp>
        <p:nvSpPr>
          <p:cNvPr id="14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/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5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/>
          <a:p>
            <a:fld id="{4E9C680B-B035-4481-9C89-9B8DCFA07DE9}" type="datetime1">
              <a:rPr lang="fi-FI" smtClean="0"/>
              <a:t>28.4.2021</a:t>
            </a:fld>
            <a:endParaRPr lang="fi-FI" dirty="0"/>
          </a:p>
        </p:txBody>
      </p:sp>
      <p:sp>
        <p:nvSpPr>
          <p:cNvPr id="17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/>
          <a:p>
            <a:r>
              <a:rPr lang="fi-FI" dirty="0"/>
              <a:t>Teknologiateollisuus</a:t>
            </a:r>
          </a:p>
        </p:txBody>
      </p:sp>
      <p:sp>
        <p:nvSpPr>
          <p:cNvPr id="9" name="Tekstin paikkamerkki 3"/>
          <p:cNvSpPr>
            <a:spLocks noGrp="1"/>
          </p:cNvSpPr>
          <p:nvPr>
            <p:ph type="body" sz="quarter" idx="18" hasCustomPrompt="1"/>
          </p:nvPr>
        </p:nvSpPr>
        <p:spPr>
          <a:xfrm>
            <a:off x="252000" y="290513"/>
            <a:ext cx="4320000" cy="250837"/>
          </a:xfrm>
          <a:prstGeom prst="rect">
            <a:avLst/>
          </a:prstGeom>
        </p:spPr>
        <p:txBody>
          <a:bodyPr anchor="t"/>
          <a:lstStyle>
            <a:lvl1pPr marL="2520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0" b="0" kern="1200" spc="0" baseline="0">
                <a:solidFill>
                  <a:schemeClr val="tx1"/>
                </a:solidFill>
              </a:defRPr>
            </a:lvl1pPr>
            <a:lvl2pPr marL="314865" indent="0">
              <a:buFontTx/>
              <a:buNone/>
              <a:defRPr/>
            </a:lvl2pPr>
            <a:lvl3pPr marL="629724" indent="0">
              <a:buFontTx/>
              <a:buNone/>
              <a:defRPr/>
            </a:lvl3pPr>
            <a:lvl4pPr marL="944589" indent="0">
              <a:buFontTx/>
              <a:buNone/>
              <a:defRPr/>
            </a:lvl4pPr>
            <a:lvl5pPr marL="1267851" indent="0">
              <a:buFontTx/>
              <a:buNone/>
              <a:defRPr/>
            </a:lvl5pPr>
          </a:lstStyle>
          <a:p>
            <a:pPr lvl="0"/>
            <a:r>
              <a:rPr lang="en-US" dirty="0" err="1"/>
              <a:t>Väliotsikko</a:t>
            </a:r>
            <a:r>
              <a:rPr lang="en-US" dirty="0"/>
              <a:t> </a:t>
            </a:r>
            <a:r>
              <a:rPr lang="en-US" dirty="0" err="1"/>
              <a:t>yläviitteenä</a:t>
            </a:r>
            <a:endParaRPr lang="fi-FI" dirty="0"/>
          </a:p>
        </p:txBody>
      </p:sp>
      <p:sp>
        <p:nvSpPr>
          <p:cNvPr id="11" name="Tekstin paikkamerkki 2"/>
          <p:cNvSpPr>
            <a:spLocks noGrp="1"/>
          </p:cNvSpPr>
          <p:nvPr>
            <p:ph idx="1"/>
          </p:nvPr>
        </p:nvSpPr>
        <p:spPr>
          <a:xfrm>
            <a:off x="4449254" y="1565735"/>
            <a:ext cx="3499200" cy="289434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rgbClr val="000000"/>
                </a:solidFill>
              </a:defRPr>
            </a:lvl1pPr>
            <a:lvl2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300" baseline="0">
                <a:solidFill>
                  <a:srgbClr val="000000"/>
                </a:solidFill>
              </a:defRPr>
            </a:lvl2pPr>
            <a:lvl3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050">
                <a:solidFill>
                  <a:srgbClr val="000000"/>
                </a:solidFill>
              </a:defRPr>
            </a:lvl3pPr>
            <a:lvl4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050">
                <a:solidFill>
                  <a:srgbClr val="000000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12" name="Tekstin paikkamerkki 28"/>
          <p:cNvSpPr>
            <a:spLocks noGrp="1"/>
          </p:cNvSpPr>
          <p:nvPr>
            <p:ph type="body" sz="quarter" idx="17" hasCustomPrompt="1"/>
          </p:nvPr>
        </p:nvSpPr>
        <p:spPr>
          <a:xfrm>
            <a:off x="1072800" y="1102950"/>
            <a:ext cx="71712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28" name="Tekstin paikkamerkki 2"/>
          <p:cNvSpPr>
            <a:spLocks noGrp="1"/>
          </p:cNvSpPr>
          <p:nvPr>
            <p:ph idx="19"/>
          </p:nvPr>
        </p:nvSpPr>
        <p:spPr>
          <a:xfrm>
            <a:off x="1072800" y="1582404"/>
            <a:ext cx="3499200" cy="289434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rgbClr val="000000"/>
                </a:solidFill>
              </a:defRPr>
            </a:lvl1pPr>
            <a:lvl2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300" baseline="0">
                <a:solidFill>
                  <a:srgbClr val="000000"/>
                </a:solidFill>
              </a:defRPr>
            </a:lvl2pPr>
            <a:lvl3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050">
                <a:solidFill>
                  <a:srgbClr val="000000"/>
                </a:solidFill>
              </a:defRPr>
            </a:lvl3pPr>
            <a:lvl4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050">
                <a:solidFill>
                  <a:srgbClr val="000000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</p:spTree>
    <p:extLst>
      <p:ext uri="{BB962C8B-B14F-4D97-AF65-F5344CB8AC3E}">
        <p14:creationId xmlns:p14="http://schemas.microsoft.com/office/powerpoint/2010/main" val="2535803264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dia tekstille ja kuvall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/>
          <a:p>
            <a:fld id="{26EC10B7-6068-4592-8DF6-C21B5E169149}" type="datetime1">
              <a:rPr lang="fi-FI" smtClean="0"/>
              <a:t>28.4.2021</a:t>
            </a:fld>
            <a:endParaRPr lang="fi-FI" dirty="0"/>
          </a:p>
        </p:txBody>
      </p:sp>
      <p:sp>
        <p:nvSpPr>
          <p:cNvPr id="17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/>
          <a:p>
            <a:r>
              <a:rPr lang="fi-FI" dirty="0"/>
              <a:t>Teknologiateollisuus</a:t>
            </a:r>
          </a:p>
        </p:txBody>
      </p:sp>
      <p:sp>
        <p:nvSpPr>
          <p:cNvPr id="8" name="Tekstin paikkamerkki 2"/>
          <p:cNvSpPr>
            <a:spLocks noGrp="1"/>
          </p:cNvSpPr>
          <p:nvPr>
            <p:ph idx="19"/>
          </p:nvPr>
        </p:nvSpPr>
        <p:spPr>
          <a:xfrm>
            <a:off x="1072800" y="1584553"/>
            <a:ext cx="55296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rgbClr val="000000"/>
                </a:solidFill>
              </a:defRPr>
            </a:lvl1pPr>
            <a:lvl2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300" baseline="0">
                <a:solidFill>
                  <a:srgbClr val="000000"/>
                </a:solidFill>
              </a:defRPr>
            </a:lvl2pPr>
            <a:lvl3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100">
                <a:solidFill>
                  <a:srgbClr val="000000"/>
                </a:solidFill>
              </a:defRPr>
            </a:lvl3pPr>
            <a:lvl4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000">
                <a:solidFill>
                  <a:srgbClr val="000000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9" name="Tekstin paikkamerkki 28"/>
          <p:cNvSpPr>
            <a:spLocks noGrp="1"/>
          </p:cNvSpPr>
          <p:nvPr>
            <p:ph type="body" sz="quarter" idx="21" hasCustomPrompt="1"/>
          </p:nvPr>
        </p:nvSpPr>
        <p:spPr>
          <a:xfrm>
            <a:off x="1072800" y="1104452"/>
            <a:ext cx="5529600" cy="365682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0" name="Kuvan paikkamerkki 6"/>
          <p:cNvSpPr>
            <a:spLocks noGrp="1"/>
          </p:cNvSpPr>
          <p:nvPr>
            <p:ph type="pic" sz="quarter" idx="20"/>
          </p:nvPr>
        </p:nvSpPr>
        <p:spPr>
          <a:xfrm>
            <a:off x="6775200" y="0"/>
            <a:ext cx="23688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rgbClr val="000000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12" name="Tekstin paikkamerkki 3"/>
          <p:cNvSpPr>
            <a:spLocks noGrp="1"/>
          </p:cNvSpPr>
          <p:nvPr>
            <p:ph type="body" sz="quarter" idx="18" hasCustomPrompt="1"/>
          </p:nvPr>
        </p:nvSpPr>
        <p:spPr>
          <a:xfrm>
            <a:off x="252000" y="290513"/>
            <a:ext cx="4320000" cy="250837"/>
          </a:xfrm>
          <a:prstGeom prst="rect">
            <a:avLst/>
          </a:prstGeom>
        </p:spPr>
        <p:txBody>
          <a:bodyPr anchor="t"/>
          <a:lstStyle>
            <a:lvl1pPr marL="2520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0" b="0" kern="1200" spc="0" baseline="0">
                <a:solidFill>
                  <a:schemeClr val="tx1"/>
                </a:solidFill>
              </a:defRPr>
            </a:lvl1pPr>
            <a:lvl2pPr marL="314865" indent="0">
              <a:buFontTx/>
              <a:buNone/>
              <a:defRPr/>
            </a:lvl2pPr>
            <a:lvl3pPr marL="629724" indent="0">
              <a:buFontTx/>
              <a:buNone/>
              <a:defRPr/>
            </a:lvl3pPr>
            <a:lvl4pPr marL="944589" indent="0">
              <a:buFontTx/>
              <a:buNone/>
              <a:defRPr/>
            </a:lvl4pPr>
            <a:lvl5pPr marL="1267851" indent="0">
              <a:buFontTx/>
              <a:buNone/>
              <a:defRPr/>
            </a:lvl5pPr>
          </a:lstStyle>
          <a:p>
            <a:pPr lvl="0"/>
            <a:r>
              <a:rPr lang="en-US" dirty="0" err="1"/>
              <a:t>Väliotsikko</a:t>
            </a:r>
            <a:r>
              <a:rPr lang="en-US" dirty="0"/>
              <a:t> </a:t>
            </a:r>
            <a:r>
              <a:rPr lang="en-US" dirty="0" err="1"/>
              <a:t>yläviitteenä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785668406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dia tekstille ja kuvall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/>
          <a:p>
            <a:fld id="{B470C21F-BEA7-4001-A59E-ED99F75C48EF}" type="datetime1">
              <a:rPr lang="fi-FI" smtClean="0"/>
              <a:t>28.4.2021</a:t>
            </a:fld>
            <a:endParaRPr lang="fi-FI" dirty="0"/>
          </a:p>
        </p:txBody>
      </p:sp>
      <p:sp>
        <p:nvSpPr>
          <p:cNvPr id="17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/>
          <a:p>
            <a:r>
              <a:rPr lang="fi-FI" dirty="0"/>
              <a:t>Teknologiateollisuus</a:t>
            </a:r>
          </a:p>
        </p:txBody>
      </p:sp>
      <p:sp>
        <p:nvSpPr>
          <p:cNvPr id="19" name="Kuvan paikkamerkki 6"/>
          <p:cNvSpPr>
            <a:spLocks noGrp="1"/>
          </p:cNvSpPr>
          <p:nvPr>
            <p:ph type="pic" sz="quarter" idx="20"/>
          </p:nvPr>
        </p:nvSpPr>
        <p:spPr>
          <a:xfrm>
            <a:off x="5090400" y="0"/>
            <a:ext cx="4053606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rgbClr val="000000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8" name="Tekstin paikkamerkki 2"/>
          <p:cNvSpPr>
            <a:spLocks noGrp="1"/>
          </p:cNvSpPr>
          <p:nvPr>
            <p:ph idx="19"/>
          </p:nvPr>
        </p:nvSpPr>
        <p:spPr>
          <a:xfrm>
            <a:off x="1072800" y="1584554"/>
            <a:ext cx="38448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0"/>
              </a:spcBef>
              <a:spcAft>
                <a:spcPts val="7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rgbClr val="000000"/>
                </a:solidFill>
              </a:defRPr>
            </a:lvl1pPr>
            <a:lvl2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300" baseline="0">
                <a:solidFill>
                  <a:srgbClr val="000000"/>
                </a:solidFill>
              </a:defRPr>
            </a:lvl2pPr>
            <a:lvl3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100">
                <a:solidFill>
                  <a:srgbClr val="000000"/>
                </a:solidFill>
              </a:defRPr>
            </a:lvl3pPr>
            <a:lvl4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000">
                <a:solidFill>
                  <a:srgbClr val="000000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9" name="Tekstin paikkamerkki 28"/>
          <p:cNvSpPr>
            <a:spLocks noGrp="1"/>
          </p:cNvSpPr>
          <p:nvPr>
            <p:ph type="body" sz="quarter" idx="21" hasCustomPrompt="1"/>
          </p:nvPr>
        </p:nvSpPr>
        <p:spPr>
          <a:xfrm>
            <a:off x="1072800" y="1104452"/>
            <a:ext cx="3844800" cy="365682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0" name="Tekstin paikkamerkki 3"/>
          <p:cNvSpPr>
            <a:spLocks noGrp="1"/>
          </p:cNvSpPr>
          <p:nvPr>
            <p:ph type="body" sz="quarter" idx="18" hasCustomPrompt="1"/>
          </p:nvPr>
        </p:nvSpPr>
        <p:spPr>
          <a:xfrm>
            <a:off x="252000" y="290513"/>
            <a:ext cx="4320000" cy="250837"/>
          </a:xfrm>
          <a:prstGeom prst="rect">
            <a:avLst/>
          </a:prstGeom>
        </p:spPr>
        <p:txBody>
          <a:bodyPr anchor="t"/>
          <a:lstStyle>
            <a:lvl1pPr marL="2520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0" b="0" kern="1200" spc="0" baseline="0">
                <a:solidFill>
                  <a:schemeClr val="tx1"/>
                </a:solidFill>
              </a:defRPr>
            </a:lvl1pPr>
            <a:lvl2pPr marL="314865" indent="0">
              <a:buFontTx/>
              <a:buNone/>
              <a:defRPr/>
            </a:lvl2pPr>
            <a:lvl3pPr marL="629724" indent="0">
              <a:buFontTx/>
              <a:buNone/>
              <a:defRPr/>
            </a:lvl3pPr>
            <a:lvl4pPr marL="944589" indent="0">
              <a:buFontTx/>
              <a:buNone/>
              <a:defRPr/>
            </a:lvl4pPr>
            <a:lvl5pPr marL="1267851" indent="0">
              <a:buFontTx/>
              <a:buNone/>
              <a:defRPr/>
            </a:lvl5pPr>
          </a:lstStyle>
          <a:p>
            <a:pPr lvl="0"/>
            <a:r>
              <a:rPr lang="en-US" dirty="0" err="1"/>
              <a:t>Väliotsikko</a:t>
            </a:r>
            <a:r>
              <a:rPr lang="en-US" dirty="0"/>
              <a:t> </a:t>
            </a:r>
            <a:r>
              <a:rPr lang="en-US" dirty="0" err="1"/>
              <a:t>yläviitteenä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032161638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dia pelkälle kuva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Kuvan paikkamerkki 6"/>
          <p:cNvSpPr>
            <a:spLocks noGrp="1"/>
          </p:cNvSpPr>
          <p:nvPr>
            <p:ph type="pic" sz="quarter" idx="20"/>
          </p:nvPr>
        </p:nvSpPr>
        <p:spPr>
          <a:xfrm>
            <a:off x="0" y="0"/>
            <a:ext cx="91440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rgbClr val="000000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964117059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dia taulukoi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Kuva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624" y="368923"/>
            <a:ext cx="437056" cy="437032"/>
          </a:xfrm>
          <a:prstGeom prst="rect">
            <a:avLst/>
          </a:prstGeom>
        </p:spPr>
      </p:pic>
      <p:sp>
        <p:nvSpPr>
          <p:cNvPr id="9" name="Tekstin paikkamerkki 3"/>
          <p:cNvSpPr>
            <a:spLocks noGrp="1"/>
          </p:cNvSpPr>
          <p:nvPr>
            <p:ph type="body" sz="quarter" idx="18" hasCustomPrompt="1"/>
          </p:nvPr>
        </p:nvSpPr>
        <p:spPr>
          <a:xfrm>
            <a:off x="252000" y="290513"/>
            <a:ext cx="4320000" cy="250837"/>
          </a:xfrm>
          <a:prstGeom prst="rect">
            <a:avLst/>
          </a:prstGeom>
        </p:spPr>
        <p:txBody>
          <a:bodyPr anchor="t"/>
          <a:lstStyle>
            <a:lvl1pPr marL="2520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0" b="0" kern="1200" spc="0" baseline="0">
                <a:solidFill>
                  <a:schemeClr val="tx1"/>
                </a:solidFill>
              </a:defRPr>
            </a:lvl1pPr>
            <a:lvl2pPr marL="314865" indent="0">
              <a:buFontTx/>
              <a:buNone/>
              <a:defRPr/>
            </a:lvl2pPr>
            <a:lvl3pPr marL="629724" indent="0">
              <a:buFontTx/>
              <a:buNone/>
              <a:defRPr/>
            </a:lvl3pPr>
            <a:lvl4pPr marL="944589" indent="0">
              <a:buFontTx/>
              <a:buNone/>
              <a:defRPr/>
            </a:lvl4pPr>
            <a:lvl5pPr marL="1267851" indent="0">
              <a:buFontTx/>
              <a:buNone/>
              <a:defRPr/>
            </a:lvl5pPr>
          </a:lstStyle>
          <a:p>
            <a:pPr lvl="0"/>
            <a:r>
              <a:rPr lang="en-US" dirty="0" err="1"/>
              <a:t>Väliotsikko</a:t>
            </a:r>
            <a:r>
              <a:rPr lang="en-US" dirty="0"/>
              <a:t> </a:t>
            </a:r>
            <a:r>
              <a:rPr lang="en-US" dirty="0" err="1"/>
              <a:t>yläviitteenä</a:t>
            </a:r>
            <a:endParaRPr lang="fi-FI" dirty="0"/>
          </a:p>
        </p:txBody>
      </p:sp>
      <p:sp>
        <p:nvSpPr>
          <p:cNvPr id="11" name="Tekstin paikkamerkki 2"/>
          <p:cNvSpPr>
            <a:spLocks noGrp="1"/>
          </p:cNvSpPr>
          <p:nvPr>
            <p:ph type="body" sz="quarter" idx="23" hasCustomPrompt="1"/>
          </p:nvPr>
        </p:nvSpPr>
        <p:spPr>
          <a:xfrm>
            <a:off x="2334682" y="4727574"/>
            <a:ext cx="2971717" cy="16516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spc="0" baseline="0"/>
            </a:lvl1pPr>
          </a:lstStyle>
          <a:p>
            <a:pPr lvl="0"/>
            <a:r>
              <a:rPr lang="fi-FI" dirty="0"/>
              <a:t>Lähde tähän</a:t>
            </a:r>
          </a:p>
        </p:txBody>
      </p:sp>
      <p:sp>
        <p:nvSpPr>
          <p:cNvPr id="19" name="Tekstin paikkamerkki 28"/>
          <p:cNvSpPr>
            <a:spLocks noGrp="1"/>
          </p:cNvSpPr>
          <p:nvPr>
            <p:ph type="body" sz="quarter" idx="21" hasCustomPrompt="1"/>
          </p:nvPr>
        </p:nvSpPr>
        <p:spPr>
          <a:xfrm>
            <a:off x="1072799" y="1102950"/>
            <a:ext cx="6868801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20" name="Sisällön paikkamerkki 4"/>
          <p:cNvSpPr>
            <a:spLocks noGrp="1"/>
          </p:cNvSpPr>
          <p:nvPr>
            <p:ph sz="quarter" idx="17"/>
          </p:nvPr>
        </p:nvSpPr>
        <p:spPr>
          <a:xfrm>
            <a:off x="1201739" y="1584200"/>
            <a:ext cx="6739862" cy="3010469"/>
          </a:xfrm>
        </p:spPr>
        <p:txBody>
          <a:bodyPr/>
          <a:lstStyle>
            <a:lvl1pPr marL="241200" indent="-212400">
              <a:buFont typeface="Arial" panose="020B0604020202020204" pitchFamily="34" charset="0"/>
              <a:buChar char="•"/>
              <a:defRPr/>
            </a:lvl1pPr>
            <a:lvl2pPr marL="471332" indent="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FontTx/>
              <a:buNone/>
              <a:defRPr/>
            </a:lvl2pPr>
            <a:lvl3pPr marL="786191" indent="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FontTx/>
              <a:buNone/>
              <a:defRPr/>
            </a:lvl3pPr>
            <a:lvl4pPr marL="1109451" indent="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FontTx/>
              <a:buNone/>
              <a:defRPr/>
            </a:lvl4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24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/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25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/>
          <a:p>
            <a:fld id="{C26F1C2C-1F3D-4324-8DB1-2B3A728EB293}" type="datetime1">
              <a:rPr lang="fi-FI" smtClean="0"/>
              <a:t>28.4.2021</a:t>
            </a:fld>
            <a:endParaRPr lang="fi-FI" dirty="0"/>
          </a:p>
        </p:txBody>
      </p:sp>
      <p:sp>
        <p:nvSpPr>
          <p:cNvPr id="26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/>
          <a:p>
            <a:r>
              <a:rPr lang="fi-FI" dirty="0"/>
              <a:t>Teknologiateollisuus</a:t>
            </a:r>
          </a:p>
        </p:txBody>
      </p:sp>
    </p:spTree>
    <p:extLst>
      <p:ext uri="{BB962C8B-B14F-4D97-AF65-F5344CB8AC3E}">
        <p14:creationId xmlns:p14="http://schemas.microsoft.com/office/powerpoint/2010/main" val="875942832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dia tekstille ja tauluko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Kuva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624" y="368923"/>
            <a:ext cx="437056" cy="437032"/>
          </a:xfrm>
          <a:prstGeom prst="rect">
            <a:avLst/>
          </a:prstGeom>
        </p:spPr>
      </p:pic>
      <p:sp>
        <p:nvSpPr>
          <p:cNvPr id="17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/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8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/>
          <a:p>
            <a:fld id="{00B1868B-515C-4A84-A79A-DDEC623D6CDB}" type="datetime1">
              <a:rPr lang="fi-FI" smtClean="0"/>
              <a:t>28.4.2021</a:t>
            </a:fld>
            <a:endParaRPr lang="fi-FI" dirty="0"/>
          </a:p>
        </p:txBody>
      </p:sp>
      <p:sp>
        <p:nvSpPr>
          <p:cNvPr id="19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/>
          <a:p>
            <a:r>
              <a:rPr lang="fi-FI" dirty="0"/>
              <a:t>Teknologiateollisuus</a:t>
            </a:r>
          </a:p>
        </p:txBody>
      </p:sp>
      <p:sp>
        <p:nvSpPr>
          <p:cNvPr id="16" name="Tekstin paikkamerkki 2"/>
          <p:cNvSpPr>
            <a:spLocks noGrp="1"/>
          </p:cNvSpPr>
          <p:nvPr>
            <p:ph type="body" sz="quarter" idx="18" hasCustomPrompt="1"/>
          </p:nvPr>
        </p:nvSpPr>
        <p:spPr>
          <a:xfrm>
            <a:off x="2334682" y="4727574"/>
            <a:ext cx="2971717" cy="16516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spc="0" baseline="0"/>
            </a:lvl1pPr>
          </a:lstStyle>
          <a:p>
            <a:pPr lvl="0"/>
            <a:r>
              <a:rPr lang="fi-FI" dirty="0"/>
              <a:t>Lähde tähän</a:t>
            </a:r>
          </a:p>
        </p:txBody>
      </p:sp>
      <p:sp>
        <p:nvSpPr>
          <p:cNvPr id="9" name="Tekstin paikkamerkki 28"/>
          <p:cNvSpPr>
            <a:spLocks noGrp="1"/>
          </p:cNvSpPr>
          <p:nvPr>
            <p:ph type="body" sz="quarter" idx="21" hasCustomPrompt="1"/>
          </p:nvPr>
        </p:nvSpPr>
        <p:spPr>
          <a:xfrm>
            <a:off x="1072799" y="1102950"/>
            <a:ext cx="6868801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1" name="Tekstin paikkamerkki 3"/>
          <p:cNvSpPr>
            <a:spLocks noGrp="1"/>
          </p:cNvSpPr>
          <p:nvPr>
            <p:ph type="body" sz="quarter" idx="22" hasCustomPrompt="1"/>
          </p:nvPr>
        </p:nvSpPr>
        <p:spPr>
          <a:xfrm>
            <a:off x="252000" y="290513"/>
            <a:ext cx="4320000" cy="250837"/>
          </a:xfrm>
          <a:prstGeom prst="rect">
            <a:avLst/>
          </a:prstGeom>
        </p:spPr>
        <p:txBody>
          <a:bodyPr anchor="t"/>
          <a:lstStyle>
            <a:lvl1pPr marL="2520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0" b="0" kern="1200" spc="0" baseline="0">
                <a:solidFill>
                  <a:schemeClr val="tx1"/>
                </a:solidFill>
              </a:defRPr>
            </a:lvl1pPr>
            <a:lvl2pPr marL="314865" indent="0">
              <a:buFontTx/>
              <a:buNone/>
              <a:defRPr/>
            </a:lvl2pPr>
            <a:lvl3pPr marL="629724" indent="0">
              <a:buFontTx/>
              <a:buNone/>
              <a:defRPr/>
            </a:lvl3pPr>
            <a:lvl4pPr marL="944589" indent="0">
              <a:buFontTx/>
              <a:buNone/>
              <a:defRPr/>
            </a:lvl4pPr>
            <a:lvl5pPr marL="1267851" indent="0">
              <a:buFontTx/>
              <a:buNone/>
              <a:defRPr/>
            </a:lvl5pPr>
          </a:lstStyle>
          <a:p>
            <a:pPr lvl="0"/>
            <a:r>
              <a:rPr lang="en-US" dirty="0" err="1"/>
              <a:t>Väliotsikko</a:t>
            </a:r>
            <a:r>
              <a:rPr lang="en-US" dirty="0"/>
              <a:t> </a:t>
            </a:r>
            <a:r>
              <a:rPr lang="en-US" dirty="0" err="1"/>
              <a:t>yläviitteenä</a:t>
            </a:r>
            <a:endParaRPr lang="fi-FI" dirty="0"/>
          </a:p>
        </p:txBody>
      </p:sp>
      <p:sp>
        <p:nvSpPr>
          <p:cNvPr id="13" name="Sisällön paikkamerkki 4"/>
          <p:cNvSpPr>
            <a:spLocks noGrp="1"/>
          </p:cNvSpPr>
          <p:nvPr>
            <p:ph sz="quarter" idx="23" hasCustomPrompt="1"/>
          </p:nvPr>
        </p:nvSpPr>
        <p:spPr>
          <a:xfrm>
            <a:off x="4572001" y="1584200"/>
            <a:ext cx="3369600" cy="2892550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471332" indent="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FontTx/>
              <a:buNone/>
              <a:defRPr/>
            </a:lvl2pPr>
            <a:lvl3pPr marL="786191" indent="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FontTx/>
              <a:buNone/>
              <a:defRPr/>
            </a:lvl3pPr>
            <a:lvl4pPr marL="1109451" indent="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FontTx/>
              <a:buNone/>
              <a:defRPr/>
            </a:lvl4pPr>
          </a:lstStyle>
          <a:p>
            <a:pPr lvl="0"/>
            <a:r>
              <a:rPr lang="fi-FI" dirty="0"/>
              <a:t>Lisää objekti</a:t>
            </a:r>
          </a:p>
        </p:txBody>
      </p:sp>
      <p:sp>
        <p:nvSpPr>
          <p:cNvPr id="12" name="Tekstin paikkamerkki 2"/>
          <p:cNvSpPr>
            <a:spLocks noGrp="1"/>
          </p:cNvSpPr>
          <p:nvPr>
            <p:ph idx="19"/>
          </p:nvPr>
        </p:nvSpPr>
        <p:spPr>
          <a:xfrm>
            <a:off x="1072800" y="1582404"/>
            <a:ext cx="3499200" cy="289434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rgbClr val="000000"/>
                </a:solidFill>
              </a:defRPr>
            </a:lvl1pPr>
            <a:lvl2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300" baseline="0">
                <a:solidFill>
                  <a:srgbClr val="000000"/>
                </a:solidFill>
              </a:defRPr>
            </a:lvl2pPr>
            <a:lvl3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050">
                <a:solidFill>
                  <a:srgbClr val="000000"/>
                </a:solidFill>
              </a:defRPr>
            </a:lvl3pPr>
            <a:lvl4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050">
                <a:solidFill>
                  <a:srgbClr val="000000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</p:spTree>
    <p:extLst>
      <p:ext uri="{BB962C8B-B14F-4D97-AF65-F5344CB8AC3E}">
        <p14:creationId xmlns:p14="http://schemas.microsoft.com/office/powerpoint/2010/main" val="2687386369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dia isoille taulukoi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kstin paikkamerkki 28"/>
          <p:cNvSpPr>
            <a:spLocks noGrp="1"/>
          </p:cNvSpPr>
          <p:nvPr>
            <p:ph type="body" sz="quarter" idx="15" hasCustomPrompt="1"/>
          </p:nvPr>
        </p:nvSpPr>
        <p:spPr>
          <a:xfrm>
            <a:off x="252000" y="282150"/>
            <a:ext cx="7992000" cy="648000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pic>
        <p:nvPicPr>
          <p:cNvPr id="10" name="Kuva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624" y="368923"/>
            <a:ext cx="437056" cy="437032"/>
          </a:xfrm>
          <a:prstGeom prst="rect">
            <a:avLst/>
          </a:prstGeom>
        </p:spPr>
      </p:pic>
      <p:sp>
        <p:nvSpPr>
          <p:cNvPr id="17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/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8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/>
          <a:p>
            <a:fld id="{E70C97DB-DA9C-4CFA-B970-B8599B25F3E4}" type="datetime1">
              <a:rPr lang="fi-FI" smtClean="0"/>
              <a:t>28.4.2021</a:t>
            </a:fld>
            <a:endParaRPr lang="fi-FI" dirty="0"/>
          </a:p>
        </p:txBody>
      </p:sp>
      <p:sp>
        <p:nvSpPr>
          <p:cNvPr id="19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/>
          <a:p>
            <a:r>
              <a:rPr lang="fi-FI" dirty="0"/>
              <a:t>Teknologiateollisuus</a:t>
            </a:r>
          </a:p>
        </p:txBody>
      </p:sp>
      <p:sp>
        <p:nvSpPr>
          <p:cNvPr id="5" name="Sisällön paikkamerkki 4"/>
          <p:cNvSpPr>
            <a:spLocks noGrp="1"/>
          </p:cNvSpPr>
          <p:nvPr>
            <p:ph sz="quarter" idx="17"/>
          </p:nvPr>
        </p:nvSpPr>
        <p:spPr>
          <a:xfrm>
            <a:off x="381000" y="1103313"/>
            <a:ext cx="8391525" cy="3541712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471332" indent="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FontTx/>
              <a:buNone/>
              <a:defRPr/>
            </a:lvl2pPr>
            <a:lvl3pPr marL="786191" indent="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FontTx/>
              <a:buNone/>
              <a:defRPr/>
            </a:lvl3pPr>
            <a:lvl4pPr marL="1109451" indent="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FontTx/>
              <a:buNone/>
              <a:defRPr/>
            </a:lvl4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16" name="Tekstin paikkamerkki 2"/>
          <p:cNvSpPr>
            <a:spLocks noGrp="1"/>
          </p:cNvSpPr>
          <p:nvPr>
            <p:ph type="body" sz="quarter" idx="18" hasCustomPrompt="1"/>
          </p:nvPr>
        </p:nvSpPr>
        <p:spPr>
          <a:xfrm>
            <a:off x="2334682" y="4727574"/>
            <a:ext cx="2971717" cy="16516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spc="0" baseline="0"/>
            </a:lvl1pPr>
          </a:lstStyle>
          <a:p>
            <a:pPr lvl="0"/>
            <a:r>
              <a:rPr lang="fi-FI" dirty="0"/>
              <a:t>Lähde tähän</a:t>
            </a:r>
          </a:p>
        </p:txBody>
      </p:sp>
    </p:spTree>
    <p:extLst>
      <p:ext uri="{BB962C8B-B14F-4D97-AF65-F5344CB8AC3E}">
        <p14:creationId xmlns:p14="http://schemas.microsoft.com/office/powerpoint/2010/main" val="1067460176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hjä 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Kuva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624" y="368923"/>
            <a:ext cx="437056" cy="437032"/>
          </a:xfrm>
          <a:prstGeom prst="rect">
            <a:avLst/>
          </a:prstGeom>
        </p:spPr>
      </p:pic>
      <p:sp>
        <p:nvSpPr>
          <p:cNvPr id="3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/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4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/>
          <a:p>
            <a:fld id="{E70C97DB-DA9C-4CFA-B970-B8599B25F3E4}" type="datetime1">
              <a:rPr lang="fi-FI" smtClean="0"/>
              <a:t>28.4.2021</a:t>
            </a:fld>
            <a:endParaRPr lang="fi-FI" dirty="0"/>
          </a:p>
        </p:txBody>
      </p:sp>
      <p:sp>
        <p:nvSpPr>
          <p:cNvPr id="5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/>
          <a:p>
            <a:r>
              <a:rPr lang="fi-FI" dirty="0"/>
              <a:t>Teknologiateollisuus</a:t>
            </a:r>
          </a:p>
        </p:txBody>
      </p:sp>
      <p:sp>
        <p:nvSpPr>
          <p:cNvPr id="7" name="Tekstin paikkamerkki 3"/>
          <p:cNvSpPr>
            <a:spLocks noGrp="1"/>
          </p:cNvSpPr>
          <p:nvPr>
            <p:ph type="body" sz="quarter" idx="22" hasCustomPrompt="1"/>
          </p:nvPr>
        </p:nvSpPr>
        <p:spPr>
          <a:xfrm>
            <a:off x="252000" y="290513"/>
            <a:ext cx="4320000" cy="250837"/>
          </a:xfrm>
          <a:prstGeom prst="rect">
            <a:avLst/>
          </a:prstGeom>
        </p:spPr>
        <p:txBody>
          <a:bodyPr anchor="t"/>
          <a:lstStyle>
            <a:lvl1pPr marL="2520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0" b="0" kern="1200" spc="0" baseline="0">
                <a:solidFill>
                  <a:schemeClr val="tx1"/>
                </a:solidFill>
              </a:defRPr>
            </a:lvl1pPr>
            <a:lvl2pPr marL="314865" indent="0">
              <a:buFontTx/>
              <a:buNone/>
              <a:defRPr/>
            </a:lvl2pPr>
            <a:lvl3pPr marL="629724" indent="0">
              <a:buFontTx/>
              <a:buNone/>
              <a:defRPr/>
            </a:lvl3pPr>
            <a:lvl4pPr marL="944589" indent="0">
              <a:buFontTx/>
              <a:buNone/>
              <a:defRPr/>
            </a:lvl4pPr>
            <a:lvl5pPr marL="1267851" indent="0">
              <a:buFontTx/>
              <a:buNone/>
              <a:defRPr/>
            </a:lvl5pPr>
          </a:lstStyle>
          <a:p>
            <a:pPr lvl="0"/>
            <a:r>
              <a:rPr lang="en-US" dirty="0" err="1"/>
              <a:t>Väliotsikko</a:t>
            </a:r>
            <a:r>
              <a:rPr lang="en-US" dirty="0"/>
              <a:t> </a:t>
            </a:r>
            <a:r>
              <a:rPr lang="en-US" dirty="0" err="1"/>
              <a:t>yläviitteenä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583285883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- valko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Kuva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624" y="368923"/>
            <a:ext cx="437056" cy="437032"/>
          </a:xfrm>
          <a:prstGeom prst="rect">
            <a:avLst/>
          </a:prstGeom>
        </p:spPr>
      </p:pic>
      <p:sp>
        <p:nvSpPr>
          <p:cNvPr id="14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/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5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/>
          <a:p>
            <a:fld id="{8D9E7F89-CFBC-40A6-849E-791F2CE17670}" type="datetime1">
              <a:rPr lang="fi-FI" smtClean="0"/>
              <a:t>28.4.2021</a:t>
            </a:fld>
            <a:endParaRPr lang="fi-FI" dirty="0"/>
          </a:p>
        </p:txBody>
      </p:sp>
      <p:sp>
        <p:nvSpPr>
          <p:cNvPr id="17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/>
          <a:p>
            <a:r>
              <a:rPr lang="fi-FI" dirty="0"/>
              <a:t>Teknologiateollisuus</a:t>
            </a:r>
          </a:p>
        </p:txBody>
      </p:sp>
      <p:sp>
        <p:nvSpPr>
          <p:cNvPr id="11" name="Tekstin paikkamerkki 28"/>
          <p:cNvSpPr>
            <a:spLocks noGrp="1"/>
          </p:cNvSpPr>
          <p:nvPr>
            <p:ph type="body" sz="quarter" idx="22" hasCustomPrompt="1"/>
          </p:nvPr>
        </p:nvSpPr>
        <p:spPr>
          <a:xfrm>
            <a:off x="1072800" y="1913747"/>
            <a:ext cx="7171200" cy="1176411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207341520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tekstille ja kuvalle - valkoin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Kuvan paikkamerkki 6"/>
          <p:cNvSpPr>
            <a:spLocks noGrp="1"/>
          </p:cNvSpPr>
          <p:nvPr>
            <p:ph type="pic" sz="quarter" idx="18"/>
          </p:nvPr>
        </p:nvSpPr>
        <p:spPr>
          <a:xfrm>
            <a:off x="5090400" y="0"/>
            <a:ext cx="40536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rgbClr val="000000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9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4D1D5393-FFB8-4AFB-965F-DF835FFEFFC2}" type="datetime1">
              <a:rPr lang="fi-FI" smtClean="0"/>
              <a:t>28.4.2021</a:t>
            </a:fld>
            <a:endParaRPr lang="fi-FI" dirty="0"/>
          </a:p>
        </p:txBody>
      </p:sp>
      <p:sp>
        <p:nvSpPr>
          <p:cNvPr id="10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2"/>
          <p:cNvSpPr>
            <a:spLocks noGrp="1"/>
          </p:cNvSpPr>
          <p:nvPr>
            <p:ph idx="21"/>
          </p:nvPr>
        </p:nvSpPr>
        <p:spPr>
          <a:xfrm>
            <a:off x="1072800" y="1585226"/>
            <a:ext cx="38448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rgbClr val="000000"/>
                </a:solidFill>
              </a:defRPr>
            </a:lvl1pPr>
            <a:lvl2pPr indent="-158400">
              <a:buSzPct val="125000"/>
              <a:defRPr sz="1300" baseline="0">
                <a:solidFill>
                  <a:srgbClr val="000000"/>
                </a:solidFill>
              </a:defRPr>
            </a:lvl2pPr>
            <a:lvl3pPr indent="-158400">
              <a:buSzPct val="125000"/>
              <a:defRPr sz="1100">
                <a:solidFill>
                  <a:srgbClr val="000000"/>
                </a:solidFill>
              </a:defRPr>
            </a:lvl3pPr>
            <a:lvl4pPr indent="-158400">
              <a:buSzPct val="125000"/>
              <a:defRPr sz="1000">
                <a:solidFill>
                  <a:srgbClr val="000000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8" name="Tekstin paikkamerkki 28"/>
          <p:cNvSpPr>
            <a:spLocks noGrp="1"/>
          </p:cNvSpPr>
          <p:nvPr>
            <p:ph type="body" sz="quarter" idx="22" hasCustomPrompt="1"/>
          </p:nvPr>
        </p:nvSpPr>
        <p:spPr>
          <a:xfrm>
            <a:off x="1072800" y="1102950"/>
            <a:ext cx="38448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021886745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- turkoosi">
    <p:bg>
      <p:bgPr>
        <a:solidFill>
          <a:srgbClr val="0ACFC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uva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004" y="370433"/>
            <a:ext cx="437200" cy="437174"/>
          </a:xfrm>
          <a:prstGeom prst="rect">
            <a:avLst/>
          </a:prstGeom>
        </p:spPr>
      </p:pic>
      <p:sp>
        <p:nvSpPr>
          <p:cNvPr id="9" name="Tekstin paikkamerkki 28"/>
          <p:cNvSpPr>
            <a:spLocks noGrp="1"/>
          </p:cNvSpPr>
          <p:nvPr>
            <p:ph type="body" sz="quarter" idx="15" hasCustomPrompt="1"/>
          </p:nvPr>
        </p:nvSpPr>
        <p:spPr>
          <a:xfrm>
            <a:off x="1072800" y="1924882"/>
            <a:ext cx="6977283" cy="1165268"/>
          </a:xfrm>
          <a:prstGeom prst="rect">
            <a:avLst/>
          </a:prstGeom>
        </p:spPr>
        <p:txBody>
          <a:bodyPr/>
          <a:lstStyle>
            <a:lvl1pPr marL="10800" indent="0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0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chemeClr val="bg1"/>
                </a:solidFill>
              </a:defRPr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2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BD49F65-936D-47C1-B476-B10D0AC9DEC4}" type="datetime1">
              <a:rPr lang="fi-FI" smtClean="0"/>
              <a:t>28.4.2021</a:t>
            </a:fld>
            <a:endParaRPr lang="fi-FI" dirty="0"/>
          </a:p>
        </p:txBody>
      </p:sp>
      <p:sp>
        <p:nvSpPr>
          <p:cNvPr id="14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456958868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E THIS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C0AD298-CA59-4422-8710-006C3EE08A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242927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C0AD298-CA59-4422-8710-006C3EE08A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AB0157B-4570-4DCB-A111-732D5969D4B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rgbClr val="00316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i-FI" sz="1800" b="1" i="0" baseline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304465" y="4933765"/>
            <a:ext cx="578213" cy="144215"/>
          </a:xfrm>
        </p:spPr>
        <p:txBody>
          <a:bodyPr wrap="square" lIns="0" tIns="0" rIns="0" bIns="0" anchor="ctr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="1" i="0">
                <a:solidFill>
                  <a:srgbClr val="919191"/>
                </a:solidFill>
                <a:latin typeface="Arial Bold"/>
              </a:defRPr>
            </a:lvl1pPr>
          </a:lstStyle>
          <a:p>
            <a:fld id="{0D558541-60C9-42A2-8392-FF12533A6B7A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58764" y="57151"/>
            <a:ext cx="8142287" cy="514073"/>
          </a:xfrm>
        </p:spPr>
        <p:txBody>
          <a:bodyPr rIns="0"/>
          <a:lstStyle>
            <a:lvl1pPr>
              <a:defRPr sz="1800" b="1" spc="0">
                <a:latin typeface="+mn-lt"/>
              </a:defRPr>
            </a:lvl1pPr>
          </a:lstStyle>
          <a:p>
            <a:r>
              <a:rPr lang="fi-FI" dirty="0" err="1"/>
              <a:t>Click</a:t>
            </a:r>
            <a:r>
              <a:rPr lang="fi-FI" dirty="0"/>
              <a:t> to </a:t>
            </a:r>
            <a:r>
              <a:rPr lang="fi-FI" dirty="0" err="1"/>
              <a:t>edit</a:t>
            </a:r>
            <a:r>
              <a:rPr lang="fi-FI" dirty="0"/>
              <a:t> Master </a:t>
            </a:r>
            <a:r>
              <a:rPr lang="fi-FI" dirty="0" err="1"/>
              <a:t>title</a:t>
            </a:r>
            <a:r>
              <a:rPr lang="fi-FI" dirty="0"/>
              <a:t> </a:t>
            </a:r>
            <a:r>
              <a:rPr lang="fi-FI" dirty="0" err="1"/>
              <a:t>style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819550065"/>
      </p:ext>
    </p:extLst>
  </p:cSld>
  <p:clrMapOvr>
    <a:masterClrMapping/>
  </p:clrMapOvr>
  <p:hf hd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E THIS -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C0AD298-CA59-4422-8710-006C3EE08A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4633695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C0AD298-CA59-4422-8710-006C3EE08A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AB0157B-4570-4DCB-A111-732D5969D4B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rgbClr val="00316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i-FI" sz="1800" b="1" i="0" baseline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304465" y="4933765"/>
            <a:ext cx="578213" cy="144215"/>
          </a:xfrm>
        </p:spPr>
        <p:txBody>
          <a:bodyPr wrap="square" lIns="0" tIns="0" rIns="0" bIns="0" anchor="ctr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="1" i="0">
                <a:solidFill>
                  <a:srgbClr val="919191"/>
                </a:solidFill>
                <a:latin typeface="Arial Bold"/>
              </a:defRPr>
            </a:lvl1pPr>
          </a:lstStyle>
          <a:p>
            <a:fld id="{0D558541-60C9-42A2-8392-FF12533A6B7A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58764" y="228877"/>
            <a:ext cx="8618537" cy="285473"/>
          </a:xfrm>
        </p:spPr>
        <p:txBody>
          <a:bodyPr rIns="0"/>
          <a:lstStyle>
            <a:lvl1pPr>
              <a:defRPr sz="1800" b="1" spc="0">
                <a:latin typeface="+mn-lt"/>
              </a:defRPr>
            </a:lvl1pPr>
          </a:lstStyle>
          <a:p>
            <a:r>
              <a:rPr lang="fi-FI" dirty="0" err="1"/>
              <a:t>Click</a:t>
            </a:r>
            <a:r>
              <a:rPr lang="fi-FI" dirty="0"/>
              <a:t> to </a:t>
            </a:r>
            <a:r>
              <a:rPr lang="fi-FI" dirty="0" err="1"/>
              <a:t>edit</a:t>
            </a:r>
            <a:r>
              <a:rPr lang="fi-FI" dirty="0"/>
              <a:t> Master </a:t>
            </a:r>
            <a:r>
              <a:rPr lang="fi-FI" dirty="0" err="1"/>
              <a:t>title</a:t>
            </a:r>
            <a:r>
              <a:rPr lang="fi-FI" dirty="0"/>
              <a:t> </a:t>
            </a:r>
            <a:r>
              <a:rPr lang="fi-FI" dirty="0" err="1"/>
              <a:t>style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601389939"/>
      </p:ext>
    </p:extLst>
  </p:cSld>
  <p:clrMapOvr>
    <a:masterClrMapping/>
  </p:clrMapOvr>
  <p:hf hd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FA322E5-B71D-4377-B689-83E211BD45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3716655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FA322E5-B71D-4377-B689-83E211BD45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392097" y="1160411"/>
            <a:ext cx="3637721" cy="886914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100000"/>
              </a:lnSpc>
              <a:spcBef>
                <a:spcPts val="0"/>
              </a:spcBef>
              <a:defRPr sz="2400" spc="-30" baseline="0">
                <a:latin typeface="+mj-lt"/>
              </a:defRPr>
            </a:lvl1pPr>
          </a:lstStyle>
          <a:p>
            <a:pPr lvl="0"/>
            <a:r>
              <a:rPr lang="fi-FI" dirty="0" err="1"/>
              <a:t>Title</a:t>
            </a:r>
            <a:r>
              <a:rPr lang="fi-FI" dirty="0"/>
              <a:t> </a:t>
            </a:r>
            <a:r>
              <a:rPr lang="fi-FI" dirty="0" err="1"/>
              <a:t>line</a:t>
            </a:r>
            <a:endParaRPr lang="fi-FI" dirty="0"/>
          </a:p>
          <a:p>
            <a:pPr lvl="0"/>
            <a:r>
              <a:rPr lang="fi-FI" dirty="0"/>
              <a:t>Second </a:t>
            </a:r>
            <a:r>
              <a:rPr lang="fi-FI" dirty="0" err="1"/>
              <a:t>line</a:t>
            </a:r>
            <a:endParaRPr lang="fi-FI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2097" y="2094926"/>
            <a:ext cx="3637721" cy="513532"/>
          </a:xfrm>
          <a:prstGeom prst="rect">
            <a:avLst/>
          </a:prstGeom>
        </p:spPr>
        <p:txBody>
          <a:bodyPr/>
          <a:lstStyle>
            <a:lvl1pPr>
              <a:lnSpc>
                <a:spcPts val="1360"/>
              </a:lnSpc>
              <a:defRPr sz="1400" b="0" spc="-30" baseline="0">
                <a:latin typeface="+mn-lt"/>
              </a:defRPr>
            </a:lvl1pPr>
          </a:lstStyle>
          <a:p>
            <a:pPr lvl="0"/>
            <a:r>
              <a:rPr lang="fi-FI" dirty="0"/>
              <a:t>THIS IS A SUBTITLE LINE AND SECOND LINE OF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392097" y="2731031"/>
            <a:ext cx="3637721" cy="513532"/>
          </a:xfrm>
          <a:prstGeom prst="rect">
            <a:avLst/>
          </a:prstGeom>
        </p:spPr>
        <p:txBody>
          <a:bodyPr/>
          <a:lstStyle>
            <a:lvl1pPr>
              <a:lnSpc>
                <a:spcPts val="1360"/>
              </a:lnSpc>
              <a:defRPr sz="1050" b="0" i="1" spc="-30" baseline="0">
                <a:latin typeface="+mn-lt"/>
              </a:defRPr>
            </a:lvl1pPr>
          </a:lstStyle>
          <a:p>
            <a:pPr lvl="0"/>
            <a:r>
              <a:rPr lang="fi-FI" dirty="0"/>
              <a:t>THIS IS ANOTHER SUBTITLE LINE E.G. FOR DATE</a:t>
            </a:r>
          </a:p>
        </p:txBody>
      </p:sp>
    </p:spTree>
    <p:extLst>
      <p:ext uri="{BB962C8B-B14F-4D97-AF65-F5344CB8AC3E}">
        <p14:creationId xmlns:p14="http://schemas.microsoft.com/office/powerpoint/2010/main" val="1797033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9ADBD48-2A4D-4DFE-A840-1CE2BC41E5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822639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8" imgH="288" progId="TCLayout.ActiveDocument.1">
                  <p:embed/>
                </p:oleObj>
              </mc:Choice>
              <mc:Fallback>
                <p:oleObj name="think-cell Slide" r:id="rId4" imgW="288" imgH="28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9ADBD48-2A4D-4DFE-A840-1CE2BC41E5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BD21FD4C-0EA6-4506-B4AC-9F911CD1022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fi-FI" sz="1800" b="1" i="0" baseline="0" dirty="0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2122991-DF40-428D-8278-DE0B22D4C3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err="1"/>
              <a:t>Click</a:t>
            </a:r>
            <a:r>
              <a:rPr lang="fi-FI" dirty="0"/>
              <a:t> to </a:t>
            </a:r>
            <a:r>
              <a:rPr lang="fi-FI" dirty="0" err="1"/>
              <a:t>edit</a:t>
            </a:r>
            <a:r>
              <a:rPr lang="fi-FI" dirty="0"/>
              <a:t> Master </a:t>
            </a:r>
            <a:r>
              <a:rPr lang="fi-FI" dirty="0" err="1"/>
              <a:t>title</a:t>
            </a:r>
            <a:r>
              <a:rPr lang="fi-FI" dirty="0"/>
              <a:t> </a:t>
            </a:r>
            <a:r>
              <a:rPr lang="fi-FI" dirty="0" err="1"/>
              <a:t>style</a:t>
            </a:r>
            <a:endParaRPr lang="fi-FI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EF22EE1-19C0-47B3-AA8E-FB77BD29AC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i-FI" dirty="0" err="1"/>
              <a:t>Click</a:t>
            </a:r>
            <a:r>
              <a:rPr lang="fi-FI" dirty="0"/>
              <a:t> to </a:t>
            </a:r>
            <a:r>
              <a:rPr lang="fi-FI" dirty="0" err="1"/>
              <a:t>edit</a:t>
            </a:r>
            <a:r>
              <a:rPr lang="fi-FI" dirty="0"/>
              <a:t> Master </a:t>
            </a:r>
            <a:r>
              <a:rPr lang="fi-FI" dirty="0" err="1"/>
              <a:t>text</a:t>
            </a:r>
            <a:r>
              <a:rPr lang="fi-FI" dirty="0"/>
              <a:t> </a:t>
            </a:r>
            <a:r>
              <a:rPr lang="fi-FI" dirty="0" err="1"/>
              <a:t>styles</a:t>
            </a:r>
            <a:endParaRPr lang="fi-FI" dirty="0"/>
          </a:p>
          <a:p>
            <a:pPr lvl="1"/>
            <a:r>
              <a:rPr lang="fi-FI" dirty="0"/>
              <a:t>Second </a:t>
            </a:r>
            <a:r>
              <a:rPr lang="fi-FI" dirty="0" err="1"/>
              <a:t>level</a:t>
            </a:r>
            <a:endParaRPr lang="fi-FI" dirty="0"/>
          </a:p>
          <a:p>
            <a:pPr lvl="2"/>
            <a:r>
              <a:rPr lang="fi-FI" dirty="0"/>
              <a:t>Third </a:t>
            </a:r>
            <a:r>
              <a:rPr lang="fi-FI" dirty="0" err="1"/>
              <a:t>level</a:t>
            </a:r>
            <a:endParaRPr lang="fi-FI" dirty="0"/>
          </a:p>
          <a:p>
            <a:pPr lvl="3"/>
            <a:r>
              <a:rPr lang="fi-FI" dirty="0" err="1"/>
              <a:t>Fourth</a:t>
            </a:r>
            <a:r>
              <a:rPr lang="fi-FI" dirty="0"/>
              <a:t> </a:t>
            </a:r>
            <a:r>
              <a:rPr lang="fi-FI" dirty="0" err="1"/>
              <a:t>level</a:t>
            </a:r>
            <a:endParaRPr lang="fi-FI" dirty="0"/>
          </a:p>
          <a:p>
            <a:pPr lvl="4"/>
            <a:r>
              <a:rPr lang="fi-FI" dirty="0" err="1"/>
              <a:t>Fifth</a:t>
            </a:r>
            <a:r>
              <a:rPr lang="fi-FI" dirty="0"/>
              <a:t> </a:t>
            </a:r>
            <a:r>
              <a:rPr lang="fi-FI" dirty="0" err="1"/>
              <a:t>level</a:t>
            </a:r>
            <a:endParaRPr lang="fi-FI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7D32B6D-E343-4575-8379-34AAE525A71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558541-60C9-42A2-8392-FF12533A6B7A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27388285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USE THIS ONE - ALWAY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2345580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18419945-10F9-457B-A478-3D5BDAB1A90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fi-FI" sz="2100" b="1" i="0" baseline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58764" y="141685"/>
            <a:ext cx="8618537" cy="582104"/>
          </a:xfrm>
        </p:spPr>
        <p:txBody>
          <a:bodyPr wrap="square" lIns="0" tIns="0" rIns="130101" bIns="0" anchor="b" anchorCtr="0">
            <a:noAutofit/>
          </a:bodyPr>
          <a:lstStyle>
            <a:lvl1pPr marL="0" indent="0" algn="l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FontTx/>
              <a:buNone/>
              <a:defRPr sz="2100" b="1" i="0">
                <a:solidFill>
                  <a:srgbClr val="000000"/>
                </a:solidFill>
                <a:latin typeface="Arial" panose="020B0604020202020204" pitchFamily="34" charset="0"/>
              </a:defRPr>
            </a:lvl1pPr>
          </a:lstStyle>
          <a:p>
            <a:r>
              <a:rPr lang="fi-FI" dirty="0" err="1"/>
              <a:t>Click</a:t>
            </a:r>
            <a:r>
              <a:rPr lang="fi-FI" dirty="0"/>
              <a:t> to </a:t>
            </a:r>
            <a:r>
              <a:rPr lang="fi-FI" dirty="0" err="1"/>
              <a:t>edit</a:t>
            </a:r>
            <a:r>
              <a:rPr lang="fi-FI" dirty="0"/>
              <a:t> Master </a:t>
            </a:r>
            <a:r>
              <a:rPr lang="fi-FI" dirty="0" err="1"/>
              <a:t>title</a:t>
            </a:r>
            <a:r>
              <a:rPr lang="fi-FI" dirty="0"/>
              <a:t> </a:t>
            </a:r>
            <a:r>
              <a:rPr lang="fi-FI" dirty="0" err="1"/>
              <a:t>style</a:t>
            </a:r>
            <a:endParaRPr lang="fi-FI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4376E75-BD4C-4462-8334-FA8FCB18789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8367" y="803781"/>
            <a:ext cx="5555456" cy="215504"/>
          </a:xfrm>
        </p:spPr>
        <p:txBody>
          <a:bodyPr/>
          <a:lstStyle>
            <a:lvl1pPr marL="0" indent="0">
              <a:buNone/>
              <a:defRPr sz="1350">
                <a:solidFill>
                  <a:schemeClr val="accent1"/>
                </a:solidFill>
              </a:defRPr>
            </a:lvl1pPr>
          </a:lstStyle>
          <a:p>
            <a:pPr lvl="0"/>
            <a:r>
              <a:rPr lang="fi-FI" dirty="0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3AE6E4E-0D08-4BE0-B16A-6A251B11522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1223" y="1099277"/>
            <a:ext cx="8632031" cy="3525111"/>
          </a:xfrm>
        </p:spPr>
        <p:txBody>
          <a:bodyPr/>
          <a:lstStyle>
            <a:lvl1pPr marL="269081" indent="-269081">
              <a:tabLst>
                <a:tab pos="269081" algn="l"/>
              </a:tabLst>
              <a:defRPr sz="1050">
                <a:solidFill>
                  <a:schemeClr val="tx1"/>
                </a:solidFill>
              </a:defRPr>
            </a:lvl1pPr>
            <a:lvl2pPr marL="538163" indent="-214313">
              <a:buFont typeface="Arial" panose="020B0604020202020204" pitchFamily="34" charset="0"/>
              <a:buChar char="•"/>
              <a:tabLst>
                <a:tab pos="269081" algn="l"/>
              </a:tabLst>
              <a:defRPr sz="1050">
                <a:solidFill>
                  <a:schemeClr val="tx1"/>
                </a:solidFill>
              </a:defRPr>
            </a:lvl2pPr>
            <a:lvl3pPr marL="739379" indent="-269081">
              <a:buFont typeface="Arial" panose="020B0604020202020204" pitchFamily="34" charset="0"/>
              <a:buChar char="•"/>
              <a:tabLst>
                <a:tab pos="269081" algn="l"/>
              </a:tabLst>
              <a:defRPr sz="1050" b="0">
                <a:solidFill>
                  <a:schemeClr val="tx1"/>
                </a:solidFill>
              </a:defRPr>
            </a:lvl3pPr>
            <a:lvl4pPr marL="941785" indent="-269081">
              <a:tabLst>
                <a:tab pos="201216" algn="l"/>
              </a:tabLst>
              <a:defRPr sz="1050" b="0">
                <a:solidFill>
                  <a:schemeClr val="tx1"/>
                </a:solidFill>
              </a:defRPr>
            </a:lvl4pPr>
            <a:lvl5pPr marL="269081" indent="-269081">
              <a:tabLst>
                <a:tab pos="269081" algn="l"/>
              </a:tabLst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fi-FI" dirty="0" err="1"/>
              <a:t>Click</a:t>
            </a:r>
            <a:r>
              <a:rPr lang="fi-FI" dirty="0"/>
              <a:t> to </a:t>
            </a:r>
            <a:r>
              <a:rPr lang="fi-FI" dirty="0" err="1"/>
              <a:t>edit</a:t>
            </a:r>
            <a:r>
              <a:rPr lang="fi-FI" dirty="0"/>
              <a:t> Master </a:t>
            </a:r>
            <a:r>
              <a:rPr lang="fi-FI" dirty="0" err="1"/>
              <a:t>text</a:t>
            </a:r>
            <a:r>
              <a:rPr lang="fi-FI" dirty="0"/>
              <a:t> </a:t>
            </a:r>
            <a:r>
              <a:rPr lang="fi-FI" dirty="0" err="1"/>
              <a:t>styles</a:t>
            </a:r>
            <a:endParaRPr lang="fi-FI" dirty="0"/>
          </a:p>
          <a:p>
            <a:pPr lvl="1"/>
            <a:r>
              <a:rPr lang="fi-FI" dirty="0"/>
              <a:t>Second </a:t>
            </a:r>
            <a:r>
              <a:rPr lang="fi-FI" dirty="0" err="1"/>
              <a:t>level</a:t>
            </a:r>
            <a:endParaRPr lang="fi-FI" dirty="0"/>
          </a:p>
          <a:p>
            <a:pPr lvl="2"/>
            <a:r>
              <a:rPr lang="fi-FI" dirty="0"/>
              <a:t>Third </a:t>
            </a:r>
            <a:r>
              <a:rPr lang="fi-FI" dirty="0" err="1"/>
              <a:t>level</a:t>
            </a:r>
            <a:endParaRPr lang="fi-FI" dirty="0"/>
          </a:p>
          <a:p>
            <a:pPr lvl="3"/>
            <a:r>
              <a:rPr lang="fi-FI" dirty="0" err="1"/>
              <a:t>Fourth</a:t>
            </a:r>
            <a:r>
              <a:rPr lang="fi-FI" dirty="0"/>
              <a:t> </a:t>
            </a:r>
            <a:r>
              <a:rPr lang="fi-FI" dirty="0" err="1"/>
              <a:t>level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98473584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3_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>
            <a:extLst>
              <a:ext uri="{FF2B5EF4-FFF2-40B4-BE49-F238E27FC236}">
                <a16:creationId xmlns:a16="http://schemas.microsoft.com/office/drawing/2014/main" id="{61E4BDAF-34B7-4244-A21A-1B4987C551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431293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8" imgH="288" progId="TCLayout.ActiveDocument.1">
                  <p:embed/>
                </p:oleObj>
              </mc:Choice>
              <mc:Fallback>
                <p:oleObj name="think-cell Slide" r:id="rId4" imgW="288" imgH="288" progId="TCLayout.ActiveDocument.1">
                  <p:embed/>
                  <p:pic>
                    <p:nvPicPr>
                      <p:cNvPr id="18" name="Object 17" hidden="1">
                        <a:extLst>
                          <a:ext uri="{FF2B5EF4-FFF2-40B4-BE49-F238E27FC236}">
                            <a16:creationId xmlns:a16="http://schemas.microsoft.com/office/drawing/2014/main" id="{61E4BDAF-34B7-4244-A21A-1B4987C551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003D4688-7EA2-4634-A456-D69C3FBD87C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i-FI" sz="4500" b="1" i="0" baseline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Freeform 11"/>
          <p:cNvSpPr>
            <a:spLocks noEditPoints="1"/>
          </p:cNvSpPr>
          <p:nvPr userDrawn="1"/>
        </p:nvSpPr>
        <p:spPr bwMode="auto">
          <a:xfrm>
            <a:off x="0" y="111126"/>
            <a:ext cx="4751388" cy="4927600"/>
          </a:xfrm>
          <a:custGeom>
            <a:avLst/>
            <a:gdLst>
              <a:gd name="T0" fmla="*/ 45 w 2993"/>
              <a:gd name="T1" fmla="*/ 67 h 3104"/>
              <a:gd name="T2" fmla="*/ 2948 w 2993"/>
              <a:gd name="T3" fmla="*/ 1243 h 3104"/>
              <a:gd name="T4" fmla="*/ 2948 w 2993"/>
              <a:gd name="T5" fmla="*/ 1861 h 3104"/>
              <a:gd name="T6" fmla="*/ 45 w 2993"/>
              <a:gd name="T7" fmla="*/ 3038 h 3104"/>
              <a:gd name="T8" fmla="*/ 45 w 2993"/>
              <a:gd name="T9" fmla="*/ 2458 h 3104"/>
              <a:gd name="T10" fmla="*/ 2174 w 2993"/>
              <a:gd name="T11" fmla="*/ 1594 h 3104"/>
              <a:gd name="T12" fmla="*/ 2278 w 2993"/>
              <a:gd name="T13" fmla="*/ 1554 h 3104"/>
              <a:gd name="T14" fmla="*/ 2174 w 2993"/>
              <a:gd name="T15" fmla="*/ 1511 h 3104"/>
              <a:gd name="T16" fmla="*/ 45 w 2993"/>
              <a:gd name="T17" fmla="*/ 647 h 3104"/>
              <a:gd name="T18" fmla="*/ 45 w 2993"/>
              <a:gd name="T19" fmla="*/ 67 h 3104"/>
              <a:gd name="T20" fmla="*/ 0 w 2993"/>
              <a:gd name="T21" fmla="*/ 0 h 3104"/>
              <a:gd name="T22" fmla="*/ 0 w 2993"/>
              <a:gd name="T23" fmla="*/ 678 h 3104"/>
              <a:gd name="T24" fmla="*/ 2157 w 2993"/>
              <a:gd name="T25" fmla="*/ 1554 h 3104"/>
              <a:gd name="T26" fmla="*/ 0 w 2993"/>
              <a:gd name="T27" fmla="*/ 2427 h 3104"/>
              <a:gd name="T28" fmla="*/ 0 w 2993"/>
              <a:gd name="T29" fmla="*/ 3104 h 3104"/>
              <a:gd name="T30" fmla="*/ 2993 w 2993"/>
              <a:gd name="T31" fmla="*/ 1892 h 3104"/>
              <a:gd name="T32" fmla="*/ 2993 w 2993"/>
              <a:gd name="T33" fmla="*/ 1213 h 3104"/>
              <a:gd name="T34" fmla="*/ 0 w 2993"/>
              <a:gd name="T35" fmla="*/ 0 h 3104"/>
              <a:gd name="T36" fmla="*/ 0 w 2993"/>
              <a:gd name="T37" fmla="*/ 0 h 31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993" h="3104">
                <a:moveTo>
                  <a:pt x="45" y="67"/>
                </a:moveTo>
                <a:lnTo>
                  <a:pt x="2948" y="1243"/>
                </a:lnTo>
                <a:lnTo>
                  <a:pt x="2948" y="1861"/>
                </a:lnTo>
                <a:lnTo>
                  <a:pt x="45" y="3038"/>
                </a:lnTo>
                <a:lnTo>
                  <a:pt x="45" y="2458"/>
                </a:lnTo>
                <a:lnTo>
                  <a:pt x="2174" y="1594"/>
                </a:lnTo>
                <a:lnTo>
                  <a:pt x="2278" y="1554"/>
                </a:lnTo>
                <a:lnTo>
                  <a:pt x="2174" y="1511"/>
                </a:lnTo>
                <a:lnTo>
                  <a:pt x="45" y="647"/>
                </a:lnTo>
                <a:lnTo>
                  <a:pt x="45" y="67"/>
                </a:lnTo>
                <a:moveTo>
                  <a:pt x="0" y="0"/>
                </a:moveTo>
                <a:lnTo>
                  <a:pt x="0" y="678"/>
                </a:lnTo>
                <a:lnTo>
                  <a:pt x="2157" y="1554"/>
                </a:lnTo>
                <a:lnTo>
                  <a:pt x="0" y="2427"/>
                </a:lnTo>
                <a:lnTo>
                  <a:pt x="0" y="3104"/>
                </a:lnTo>
                <a:lnTo>
                  <a:pt x="2993" y="1892"/>
                </a:lnTo>
                <a:lnTo>
                  <a:pt x="2993" y="1213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 sz="1800" dirty="0"/>
          </a:p>
        </p:txBody>
      </p:sp>
      <p:pic>
        <p:nvPicPr>
          <p:cNvPr id="2" name="GTS_Technology_DIMENSIONAL" hidden="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9" name="GTS_Technology_KEYLINE_darkBG" hidden="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4" name="GTS_Technology_KEYLINE_lightBG" hidden="1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7" name="GTS_Technology_GRADIENT_darkBG" hidden="1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3" name="GTS_Technology_GRADIENT_lightBG" hidden="1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98" name="Acc_TechnologyBLACK" hidden="1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6149" y="245745"/>
            <a:ext cx="2571743" cy="448221"/>
          </a:xfrm>
          <a:prstGeom prst="rect">
            <a:avLst/>
          </a:prstGeom>
        </p:spPr>
      </p:pic>
      <p:pic>
        <p:nvPicPr>
          <p:cNvPr id="99" name="Acc_TechnologyWHITE" hidden="1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6150" y="237173"/>
            <a:ext cx="2571967" cy="462048"/>
          </a:xfrm>
          <a:prstGeom prst="rect">
            <a:avLst/>
          </a:prstGeom>
        </p:spPr>
      </p:pic>
      <p:pic>
        <p:nvPicPr>
          <p:cNvPr id="13" name="GTS_Strategy_GRADIENT_darkBG" hidden="1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10" name="GTS_Strategy_GRADIENT_lightBG" hidden="1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12" name="GTS_Strategy_DIMENSIONAL_darkBG" hidden="1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5" name="GTS_Strategy_DIMENSIONAL_lightBG" hidden="1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101" name="Acc_StrategyWHITE" hidden="1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7414" y="264363"/>
            <a:ext cx="2219990" cy="400856"/>
          </a:xfrm>
          <a:prstGeom prst="rect">
            <a:avLst/>
          </a:prstGeom>
        </p:spPr>
      </p:pic>
      <p:pic>
        <p:nvPicPr>
          <p:cNvPr id="20" name="GTS_Operations_KEYLINE_darkBG" hidden="1"/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17" name="GTS_Operations_KEYLINE_lightBG" hidden="1"/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19" name="GTS_Operations_GRADIENT_darkBG" hidden="1"/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16" name="GTS_Operations_GRADIENT_lightBG" hidden="1"/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15" name="GTS_Operations_DIMENSIONAL" hidden="1"/>
          <p:cNvPicPr>
            <a:picLocks noChangeAspect="1"/>
          </p:cNvPicPr>
          <p:nvPr userDrawn="1"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102" name="Acc_OperationsWHITE" hidden="1"/>
          <p:cNvPicPr>
            <a:picLocks noChangeAspect="1"/>
          </p:cNvPicPr>
          <p:nvPr userDrawn="1"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1203" y="248023"/>
            <a:ext cx="2467235" cy="445500"/>
          </a:xfrm>
          <a:prstGeom prst="rect">
            <a:avLst/>
          </a:prstGeom>
        </p:spPr>
      </p:pic>
      <p:pic>
        <p:nvPicPr>
          <p:cNvPr id="105" name="Acc_OperationsBLACK" hidden="1"/>
          <p:cNvPicPr>
            <a:picLocks noChangeAspect="1"/>
          </p:cNvPicPr>
          <p:nvPr userDrawn="1"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2154" y="242888"/>
            <a:ext cx="2459804" cy="444158"/>
          </a:xfrm>
          <a:prstGeom prst="rect">
            <a:avLst/>
          </a:prstGeom>
        </p:spPr>
      </p:pic>
      <p:pic>
        <p:nvPicPr>
          <p:cNvPr id="106" name="Acc_MobilityBLACK" hidden="1"/>
          <p:cNvPicPr>
            <a:picLocks noChangeAspect="1"/>
          </p:cNvPicPr>
          <p:nvPr userDrawn="1"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7414" y="401829"/>
            <a:ext cx="2571656" cy="395759"/>
          </a:xfrm>
          <a:prstGeom prst="rect">
            <a:avLst/>
          </a:prstGeom>
        </p:spPr>
      </p:pic>
      <p:pic>
        <p:nvPicPr>
          <p:cNvPr id="107" name="Acc_MobilityWHITE" hidden="1"/>
          <p:cNvPicPr>
            <a:picLocks noChangeAspect="1"/>
          </p:cNvPicPr>
          <p:nvPr userDrawn="1"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7414" y="401828"/>
            <a:ext cx="2574401" cy="396900"/>
          </a:xfrm>
          <a:prstGeom prst="rect">
            <a:avLst/>
          </a:prstGeom>
        </p:spPr>
      </p:pic>
      <p:pic>
        <p:nvPicPr>
          <p:cNvPr id="108" name="Acc_InteractiveBLACK" hidden="1"/>
          <p:cNvPicPr>
            <a:picLocks noChangeAspect="1"/>
          </p:cNvPicPr>
          <p:nvPr userDrawn="1"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7415" y="404497"/>
            <a:ext cx="2581436" cy="389240"/>
          </a:xfrm>
          <a:prstGeom prst="rect">
            <a:avLst/>
          </a:prstGeom>
        </p:spPr>
      </p:pic>
      <p:pic>
        <p:nvPicPr>
          <p:cNvPr id="109" name="Acc_InteractiveWHITE" hidden="1"/>
          <p:cNvPicPr>
            <a:picLocks noChangeAspect="1"/>
          </p:cNvPicPr>
          <p:nvPr userDrawn="1"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7415" y="404498"/>
            <a:ext cx="2578836" cy="388800"/>
          </a:xfrm>
          <a:prstGeom prst="rect">
            <a:avLst/>
          </a:prstGeom>
        </p:spPr>
      </p:pic>
      <p:pic>
        <p:nvPicPr>
          <p:cNvPr id="110" name="Acc_AnalyticsBLACK" hidden="1"/>
          <p:cNvPicPr>
            <a:picLocks noChangeAspect="1"/>
          </p:cNvPicPr>
          <p:nvPr userDrawn="1"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6149" y="402275"/>
            <a:ext cx="2570702" cy="396453"/>
          </a:xfrm>
          <a:prstGeom prst="rect">
            <a:avLst/>
          </a:prstGeom>
        </p:spPr>
      </p:pic>
      <p:pic>
        <p:nvPicPr>
          <p:cNvPr id="111" name="Acc_AnalyticsWHITE" hidden="1"/>
          <p:cNvPicPr>
            <a:picLocks noChangeAspect="1"/>
          </p:cNvPicPr>
          <p:nvPr userDrawn="1"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6150" y="402275"/>
            <a:ext cx="2581436" cy="396900"/>
          </a:xfrm>
          <a:prstGeom prst="rect">
            <a:avLst/>
          </a:prstGeom>
        </p:spPr>
      </p:pic>
      <p:pic>
        <p:nvPicPr>
          <p:cNvPr id="24" name="GTS_Digital_KEYLINE_darkBG" hidden="1"/>
          <p:cNvPicPr>
            <a:picLocks noChangeAspect="1"/>
          </p:cNvPicPr>
          <p:nvPr userDrawn="1"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23" name="GTS_Digital_KEYLINE_lightBG" hidden="1"/>
          <p:cNvPicPr>
            <a:picLocks noChangeAspect="1"/>
          </p:cNvPicPr>
          <p:nvPr userDrawn="1"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25" name="GTS_Digital_GRADIENT_darkBG" hidden="1"/>
          <p:cNvPicPr>
            <a:picLocks noChangeAspect="1"/>
          </p:cNvPicPr>
          <p:nvPr userDrawn="1"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22" name="GTS_Digital_GRADIENT_lightBG" hidden="1"/>
          <p:cNvPicPr>
            <a:picLocks noChangeAspect="1"/>
          </p:cNvPicPr>
          <p:nvPr userDrawn="1"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26" name="GTS_Digital_DIMENSIONAL_darkBG" hidden="1"/>
          <p:cNvPicPr>
            <a:picLocks noChangeAspect="1"/>
          </p:cNvPicPr>
          <p:nvPr userDrawn="1"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21" name="GTS_Digital_DIMENSIONAL_lightBG" hidden="1"/>
          <p:cNvPicPr>
            <a:picLocks noChangeAspect="1"/>
          </p:cNvPicPr>
          <p:nvPr userDrawn="1"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112" name="Acc_DigitalWHITE" hidden="1"/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5012" y="281954"/>
            <a:ext cx="1935692" cy="374979"/>
          </a:xfrm>
          <a:prstGeom prst="rect">
            <a:avLst/>
          </a:prstGeom>
        </p:spPr>
      </p:pic>
      <p:pic>
        <p:nvPicPr>
          <p:cNvPr id="113" name="Acc_DigitalBLACK" hidden="1"/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5012" y="282247"/>
            <a:ext cx="1933787" cy="374732"/>
          </a:xfrm>
          <a:prstGeom prst="rect">
            <a:avLst/>
          </a:prstGeom>
        </p:spPr>
      </p:pic>
      <p:pic>
        <p:nvPicPr>
          <p:cNvPr id="35" name="GTS_Consulting_KEYLINE_darkBG" hidden="1"/>
          <p:cNvPicPr>
            <a:picLocks noChangeAspect="1"/>
          </p:cNvPicPr>
          <p:nvPr userDrawn="1"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30" name="GTS_Consulting_KEYLINE_lightBG" hidden="1"/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34" name="GTS_Consulting_GRADIENT_darkBG" hidden="1"/>
          <p:cNvPicPr>
            <a:picLocks noChangeAspect="1"/>
          </p:cNvPicPr>
          <p:nvPr userDrawn="1"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29" name="GTS_Consulting_GRADIENT_lightBG" hidden="1"/>
          <p:cNvPicPr>
            <a:picLocks noChangeAspect="1"/>
          </p:cNvPicPr>
          <p:nvPr userDrawn="1"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28" name="GTS_Consulting_DIMENSIONAL" hidden="1"/>
          <p:cNvPicPr>
            <a:picLocks noChangeAspect="1"/>
          </p:cNvPicPr>
          <p:nvPr userDrawn="1"/>
        </p:nvPicPr>
        <p:blipFill>
          <a:blip r:embed="rId4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114" name="Acc_ConsultingWHITE" hidden="1"/>
          <p:cNvPicPr>
            <a:picLocks noChangeAspect="1"/>
          </p:cNvPicPr>
          <p:nvPr userDrawn="1"/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5012" y="252563"/>
            <a:ext cx="2419160" cy="434123"/>
          </a:xfrm>
          <a:prstGeom prst="rect">
            <a:avLst/>
          </a:prstGeom>
        </p:spPr>
      </p:pic>
      <p:pic>
        <p:nvPicPr>
          <p:cNvPr id="115" name="Acc_ConsultingBLACK" hidden="1"/>
          <p:cNvPicPr>
            <a:picLocks noChangeAspect="1"/>
          </p:cNvPicPr>
          <p:nvPr userDrawn="1"/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5012" y="276584"/>
            <a:ext cx="2419160" cy="380366"/>
          </a:xfrm>
          <a:prstGeom prst="rect">
            <a:avLst/>
          </a:prstGeom>
        </p:spPr>
      </p:pic>
      <p:pic>
        <p:nvPicPr>
          <p:cNvPr id="52" name="GTS_Master_GRADIENT_09" hidden="1"/>
          <p:cNvPicPr>
            <a:picLocks noChangeAspect="1"/>
          </p:cNvPicPr>
          <p:nvPr userDrawn="1"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53" name="GTS_Master_GRADIENT_08" hidden="1"/>
          <p:cNvPicPr>
            <a:picLocks noChangeAspect="1"/>
          </p:cNvPicPr>
          <p:nvPr userDrawn="1"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54" name="GTS_Master_GRADIENT_07" hidden="1"/>
          <p:cNvPicPr>
            <a:picLocks noChangeAspect="1"/>
          </p:cNvPicPr>
          <p:nvPr userDrawn="1"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55" name="GTS_Master_GRADIENT_06" hidden="1"/>
          <p:cNvPicPr>
            <a:picLocks noChangeAspect="1"/>
          </p:cNvPicPr>
          <p:nvPr userDrawn="1"/>
        </p:nvPicPr>
        <p:blipFill>
          <a:blip r:embed="rId4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56" name="GTS_Master_DIMENSIONAL_08" hidden="1"/>
          <p:cNvPicPr>
            <a:picLocks noChangeAspect="1"/>
          </p:cNvPicPr>
          <p:nvPr userDrawn="1"/>
        </p:nvPicPr>
        <p:blipFill>
          <a:blip r:embed="rId5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57" name="GTS_Master_DIMENSIONAL_07" hidden="1"/>
          <p:cNvPicPr>
            <a:picLocks noChangeAspect="1"/>
          </p:cNvPicPr>
          <p:nvPr userDrawn="1"/>
        </p:nvPicPr>
        <p:blipFill>
          <a:blip r:embed="rId5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58" name="GTS_Master_DIMENSIONAL_04" hidden="1"/>
          <p:cNvPicPr>
            <a:picLocks noChangeAspect="1"/>
          </p:cNvPicPr>
          <p:nvPr userDrawn="1"/>
        </p:nvPicPr>
        <p:blipFill>
          <a:blip r:embed="rId5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59" name="GTS_Master_TWO-TONE_05" hidden="1"/>
          <p:cNvPicPr>
            <a:picLocks noChangeAspect="1"/>
          </p:cNvPicPr>
          <p:nvPr userDrawn="1"/>
        </p:nvPicPr>
        <p:blipFill>
          <a:blip r:embed="rId5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60" name="GTS_Master_TWO-TONE_04" hidden="1"/>
          <p:cNvPicPr>
            <a:picLocks noChangeAspect="1"/>
          </p:cNvPicPr>
          <p:nvPr userDrawn="1"/>
        </p:nvPicPr>
        <p:blipFill>
          <a:blip r:embed="rId5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61" name="GTS_Master_TWO-TONE_03" hidden="1"/>
          <p:cNvPicPr>
            <a:picLocks noChangeAspect="1"/>
          </p:cNvPicPr>
          <p:nvPr userDrawn="1"/>
        </p:nvPicPr>
        <p:blipFill>
          <a:blip r:embed="rId5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62" name="GTS_Master_TWO-TONE_02" hidden="1"/>
          <p:cNvPicPr>
            <a:picLocks noChangeAspect="1"/>
          </p:cNvPicPr>
          <p:nvPr userDrawn="1"/>
        </p:nvPicPr>
        <p:blipFill>
          <a:blip r:embed="rId5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63" name="GTS_Master_TWO-TONE_01" hidden="1"/>
          <p:cNvPicPr>
            <a:picLocks noChangeAspect="1"/>
          </p:cNvPicPr>
          <p:nvPr userDrawn="1"/>
        </p:nvPicPr>
        <p:blipFill>
          <a:blip r:embed="rId5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grpSp>
        <p:nvGrpSpPr>
          <p:cNvPr id="46" name="Acc_MasterWHITE" hidden="1"/>
          <p:cNvGrpSpPr>
            <a:grpSpLocks noChangeAspect="1"/>
          </p:cNvGrpSpPr>
          <p:nvPr userDrawn="1"/>
        </p:nvGrpSpPr>
        <p:grpSpPr>
          <a:xfrm>
            <a:off x="5813243" y="283293"/>
            <a:ext cx="1248156" cy="335021"/>
            <a:chOff x="9638475" y="1219200"/>
            <a:chExt cx="1389888" cy="373063"/>
          </a:xfrm>
        </p:grpSpPr>
        <p:pic>
          <p:nvPicPr>
            <p:cNvPr id="47" name="Picture 46"/>
            <p:cNvPicPr>
              <a:picLocks noChangeAspect="1"/>
            </p:cNvPicPr>
            <p:nvPr/>
          </p:nvPicPr>
          <p:blipFill>
            <a:blip r:embed="rId58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638475" y="1372165"/>
              <a:ext cx="1389888" cy="220098"/>
            </a:xfrm>
            <a:prstGeom prst="rect">
              <a:avLst/>
            </a:prstGeom>
          </p:spPr>
        </p:pic>
        <p:sp>
          <p:nvSpPr>
            <p:cNvPr id="48" name="Freeform 5"/>
            <p:cNvSpPr>
              <a:spLocks/>
            </p:cNvSpPr>
            <p:nvPr/>
          </p:nvSpPr>
          <p:spPr bwMode="auto">
            <a:xfrm>
              <a:off x="10448925" y="1219200"/>
              <a:ext cx="136525" cy="147638"/>
            </a:xfrm>
            <a:custGeom>
              <a:avLst/>
              <a:gdLst>
                <a:gd name="T0" fmla="*/ 0 w 86"/>
                <a:gd name="T1" fmla="*/ 66 h 93"/>
                <a:gd name="T2" fmla="*/ 50 w 86"/>
                <a:gd name="T3" fmla="*/ 47 h 93"/>
                <a:gd name="T4" fmla="*/ 0 w 86"/>
                <a:gd name="T5" fmla="*/ 27 h 93"/>
                <a:gd name="T6" fmla="*/ 0 w 86"/>
                <a:gd name="T7" fmla="*/ 0 h 93"/>
                <a:gd name="T8" fmla="*/ 86 w 86"/>
                <a:gd name="T9" fmla="*/ 35 h 93"/>
                <a:gd name="T10" fmla="*/ 86 w 86"/>
                <a:gd name="T11" fmla="*/ 57 h 93"/>
                <a:gd name="T12" fmla="*/ 0 w 86"/>
                <a:gd name="T13" fmla="*/ 93 h 93"/>
                <a:gd name="T14" fmla="*/ 0 w 86"/>
                <a:gd name="T15" fmla="*/ 66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6" h="93">
                  <a:moveTo>
                    <a:pt x="0" y="66"/>
                  </a:moveTo>
                  <a:lnTo>
                    <a:pt x="50" y="47"/>
                  </a:lnTo>
                  <a:lnTo>
                    <a:pt x="0" y="27"/>
                  </a:lnTo>
                  <a:lnTo>
                    <a:pt x="0" y="0"/>
                  </a:lnTo>
                  <a:lnTo>
                    <a:pt x="86" y="35"/>
                  </a:lnTo>
                  <a:lnTo>
                    <a:pt x="86" y="57"/>
                  </a:lnTo>
                  <a:lnTo>
                    <a:pt x="0" y="93"/>
                  </a:lnTo>
                  <a:lnTo>
                    <a:pt x="0" y="6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005" dirty="0"/>
            </a:p>
          </p:txBody>
        </p:sp>
      </p:grpSp>
      <p:grpSp>
        <p:nvGrpSpPr>
          <p:cNvPr id="49" name="Acc_MasterBLACK" hidden="1"/>
          <p:cNvGrpSpPr>
            <a:grpSpLocks noChangeAspect="1"/>
          </p:cNvGrpSpPr>
          <p:nvPr userDrawn="1"/>
        </p:nvGrpSpPr>
        <p:grpSpPr>
          <a:xfrm>
            <a:off x="5813243" y="283293"/>
            <a:ext cx="1248156" cy="335021"/>
            <a:chOff x="9563100" y="1673029"/>
            <a:chExt cx="1389888" cy="373063"/>
          </a:xfrm>
        </p:grpSpPr>
        <p:pic>
          <p:nvPicPr>
            <p:cNvPr id="50" name="Picture 49"/>
            <p:cNvPicPr>
              <a:picLocks noChangeAspect="1"/>
            </p:cNvPicPr>
            <p:nvPr/>
          </p:nvPicPr>
          <p:blipFill>
            <a:blip r:embed="rId59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63100" y="1825994"/>
              <a:ext cx="1389888" cy="220098"/>
            </a:xfrm>
            <a:prstGeom prst="rect">
              <a:avLst/>
            </a:prstGeom>
          </p:spPr>
        </p:pic>
        <p:sp>
          <p:nvSpPr>
            <p:cNvPr id="51" name="Freeform 5"/>
            <p:cNvSpPr>
              <a:spLocks/>
            </p:cNvSpPr>
            <p:nvPr/>
          </p:nvSpPr>
          <p:spPr bwMode="auto">
            <a:xfrm>
              <a:off x="10373550" y="1673029"/>
              <a:ext cx="136525" cy="147638"/>
            </a:xfrm>
            <a:custGeom>
              <a:avLst/>
              <a:gdLst>
                <a:gd name="T0" fmla="*/ 0 w 86"/>
                <a:gd name="T1" fmla="*/ 66 h 93"/>
                <a:gd name="T2" fmla="*/ 50 w 86"/>
                <a:gd name="T3" fmla="*/ 47 h 93"/>
                <a:gd name="T4" fmla="*/ 0 w 86"/>
                <a:gd name="T5" fmla="*/ 27 h 93"/>
                <a:gd name="T6" fmla="*/ 0 w 86"/>
                <a:gd name="T7" fmla="*/ 0 h 93"/>
                <a:gd name="T8" fmla="*/ 86 w 86"/>
                <a:gd name="T9" fmla="*/ 35 h 93"/>
                <a:gd name="T10" fmla="*/ 86 w 86"/>
                <a:gd name="T11" fmla="*/ 57 h 93"/>
                <a:gd name="T12" fmla="*/ 0 w 86"/>
                <a:gd name="T13" fmla="*/ 93 h 93"/>
                <a:gd name="T14" fmla="*/ 0 w 86"/>
                <a:gd name="T15" fmla="*/ 66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6" h="93">
                  <a:moveTo>
                    <a:pt x="0" y="66"/>
                  </a:moveTo>
                  <a:lnTo>
                    <a:pt x="50" y="47"/>
                  </a:lnTo>
                  <a:lnTo>
                    <a:pt x="0" y="27"/>
                  </a:lnTo>
                  <a:lnTo>
                    <a:pt x="0" y="0"/>
                  </a:lnTo>
                  <a:lnTo>
                    <a:pt x="86" y="35"/>
                  </a:lnTo>
                  <a:lnTo>
                    <a:pt x="86" y="57"/>
                  </a:lnTo>
                  <a:lnTo>
                    <a:pt x="0" y="93"/>
                  </a:lnTo>
                  <a:lnTo>
                    <a:pt x="0" y="66"/>
                  </a:lnTo>
                  <a:close/>
                </a:path>
              </a:pathLst>
            </a:custGeom>
            <a:solidFill>
              <a:srgbClr val="70E6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005" dirty="0"/>
            </a:p>
          </p:txBody>
        </p:sp>
      </p:grpSp>
      <p:sp>
        <p:nvSpPr>
          <p:cNvPr id="6" name="SubTitle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5290828" y="3805392"/>
            <a:ext cx="2892247" cy="780896"/>
          </a:xfrm>
        </p:spPr>
        <p:txBody>
          <a:bodyPr anchor="b"/>
          <a:lstStyle>
            <a:lvl1pPr marL="0" indent="0">
              <a:lnSpc>
                <a:spcPct val="80000"/>
              </a:lnSpc>
              <a:buNone/>
              <a:defRPr sz="1500" b="0" i="0" cap="all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fi-FI" dirty="0"/>
              <a:t>SUBTITLE LINE</a:t>
            </a:r>
            <a:br>
              <a:rPr lang="fi-FI" dirty="0"/>
            </a:br>
            <a:r>
              <a:rPr lang="fi-FI" dirty="0"/>
              <a:t>SECOND LINE</a:t>
            </a:r>
          </a:p>
        </p:txBody>
      </p:sp>
      <p:sp>
        <p:nvSpPr>
          <p:cNvPr id="8" name="MasterTitle"/>
          <p:cNvSpPr>
            <a:spLocks noGrp="1"/>
          </p:cNvSpPr>
          <p:nvPr userDrawn="1">
            <p:ph type="title" hasCustomPrompt="1"/>
          </p:nvPr>
        </p:nvSpPr>
        <p:spPr>
          <a:xfrm>
            <a:off x="5287018" y="1388745"/>
            <a:ext cx="3524842" cy="2377427"/>
          </a:xfrm>
        </p:spPr>
        <p:txBody>
          <a:bodyPr tIns="252000" anchor="ctr"/>
          <a:lstStyle>
            <a:lvl1pPr>
              <a:lnSpc>
                <a:spcPct val="70000"/>
              </a:lnSpc>
              <a:defRPr sz="4500" spc="-113" baseline="0">
                <a:solidFill>
                  <a:schemeClr val="tx1"/>
                </a:solidFill>
              </a:defRPr>
            </a:lvl1pPr>
          </a:lstStyle>
          <a:p>
            <a:r>
              <a:rPr lang="fi-FI" dirty="0" err="1"/>
              <a:t>Click</a:t>
            </a:r>
            <a:r>
              <a:rPr lang="fi-FI" dirty="0"/>
              <a:t> </a:t>
            </a:r>
            <a:br>
              <a:rPr lang="fi-FI" dirty="0"/>
            </a:br>
            <a:r>
              <a:rPr lang="fi-FI" dirty="0"/>
              <a:t>to </a:t>
            </a:r>
            <a:r>
              <a:rPr lang="fi-FI" dirty="0" err="1"/>
              <a:t>edit</a:t>
            </a:r>
            <a:r>
              <a:rPr lang="fi-FI" dirty="0"/>
              <a:t> Master </a:t>
            </a:r>
            <a:r>
              <a:rPr lang="fi-FI" dirty="0" err="1"/>
              <a:t>title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9177554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320">
          <p15:clr>
            <a:srgbClr val="5ACBF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godia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Kuva 2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072270" y="1966957"/>
            <a:ext cx="4730093" cy="11725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0068013"/>
      </p:ext>
    </p:extLst>
  </p:cSld>
  <p:clrMapOvr>
    <a:masterClrMapping/>
  </p:clrMapOvr>
  <p:transition spd="med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tekstille ja kuvalle - turkoosi">
    <p:bg>
      <p:bgPr>
        <a:solidFill>
          <a:srgbClr val="0ACFC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Kuvan paikkamerkki 6"/>
          <p:cNvSpPr>
            <a:spLocks noGrp="1"/>
          </p:cNvSpPr>
          <p:nvPr>
            <p:ph type="pic" sz="quarter" idx="18"/>
          </p:nvPr>
        </p:nvSpPr>
        <p:spPr>
          <a:xfrm>
            <a:off x="5090400" y="0"/>
            <a:ext cx="40536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bg1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9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E114E9B-AF34-462B-9107-FB4A4FE20955}" type="datetime1">
              <a:rPr lang="fi-FI" smtClean="0"/>
              <a:t>28.4.2021</a:t>
            </a:fld>
            <a:endParaRPr lang="fi-FI" dirty="0"/>
          </a:p>
        </p:txBody>
      </p:sp>
      <p:sp>
        <p:nvSpPr>
          <p:cNvPr id="10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2"/>
          <p:cNvSpPr>
            <a:spLocks noGrp="1"/>
          </p:cNvSpPr>
          <p:nvPr>
            <p:ph idx="21"/>
          </p:nvPr>
        </p:nvSpPr>
        <p:spPr>
          <a:xfrm>
            <a:off x="1072800" y="1583052"/>
            <a:ext cx="38448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  <a:lvl2pPr indent="-158400">
              <a:buSzPct val="125000"/>
              <a:defRPr sz="1300" baseline="0">
                <a:solidFill>
                  <a:schemeClr val="bg1"/>
                </a:solidFill>
              </a:defRPr>
            </a:lvl2pPr>
            <a:lvl3pPr indent="-158400">
              <a:buSzPct val="125000"/>
              <a:defRPr sz="1100">
                <a:solidFill>
                  <a:schemeClr val="bg1"/>
                </a:solidFill>
              </a:defRPr>
            </a:lvl3pPr>
            <a:lvl4pPr indent="-158400">
              <a:buSzPct val="125000"/>
              <a:defRPr sz="1000">
                <a:solidFill>
                  <a:schemeClr val="bg1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8" name="Tekstin paikkamerkki 28"/>
          <p:cNvSpPr>
            <a:spLocks noGrp="1"/>
          </p:cNvSpPr>
          <p:nvPr>
            <p:ph type="body" sz="quarter" idx="22" hasCustomPrompt="1"/>
          </p:nvPr>
        </p:nvSpPr>
        <p:spPr>
          <a:xfrm>
            <a:off x="1072800" y="1102950"/>
            <a:ext cx="38448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005528484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- petroli">
    <p:bg>
      <p:bgPr>
        <a:solidFill>
          <a:srgbClr val="0F78B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uva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004" y="370433"/>
            <a:ext cx="437200" cy="437174"/>
          </a:xfrm>
          <a:prstGeom prst="rect">
            <a:avLst/>
          </a:prstGeom>
        </p:spPr>
      </p:pic>
      <p:sp>
        <p:nvSpPr>
          <p:cNvPr id="10" name="Tekstin paikkamerkki 28"/>
          <p:cNvSpPr>
            <a:spLocks noGrp="1"/>
          </p:cNvSpPr>
          <p:nvPr>
            <p:ph type="body" sz="quarter" idx="15" hasCustomPrompt="1"/>
          </p:nvPr>
        </p:nvSpPr>
        <p:spPr>
          <a:xfrm>
            <a:off x="1072800" y="1924882"/>
            <a:ext cx="6977283" cy="1165268"/>
          </a:xfrm>
          <a:prstGeom prst="rect">
            <a:avLst/>
          </a:prstGeom>
        </p:spPr>
        <p:txBody>
          <a:bodyPr/>
          <a:lstStyle>
            <a:lvl1pPr marL="10800" indent="0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2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chemeClr val="bg1"/>
                </a:solidFill>
              </a:defRPr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4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7D0C29F-D373-4791-88C9-86C29F06AD83}" type="datetime1">
              <a:rPr lang="fi-FI" smtClean="0"/>
              <a:t>28.4.2021</a:t>
            </a:fld>
            <a:endParaRPr lang="fi-FI" dirty="0"/>
          </a:p>
        </p:txBody>
      </p:sp>
      <p:sp>
        <p:nvSpPr>
          <p:cNvPr id="15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747701072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tekstille ja kuvalle - petroli">
    <p:bg>
      <p:bgPr>
        <a:solidFill>
          <a:srgbClr val="0F78B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Kuvan paikkamerkki 6"/>
          <p:cNvSpPr>
            <a:spLocks noGrp="1"/>
          </p:cNvSpPr>
          <p:nvPr>
            <p:ph type="pic" sz="quarter" idx="18"/>
          </p:nvPr>
        </p:nvSpPr>
        <p:spPr>
          <a:xfrm>
            <a:off x="5090400" y="0"/>
            <a:ext cx="40536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bg1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9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C870B0A-5FAA-48CC-9422-68AAC5A5CADB}" type="datetime1">
              <a:rPr lang="fi-FI" smtClean="0"/>
              <a:t>28.4.2021</a:t>
            </a:fld>
            <a:endParaRPr lang="fi-FI" dirty="0"/>
          </a:p>
        </p:txBody>
      </p:sp>
      <p:sp>
        <p:nvSpPr>
          <p:cNvPr id="10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11" name="Tekstin paikkamerkki 2"/>
          <p:cNvSpPr>
            <a:spLocks noGrp="1"/>
          </p:cNvSpPr>
          <p:nvPr>
            <p:ph idx="21"/>
          </p:nvPr>
        </p:nvSpPr>
        <p:spPr>
          <a:xfrm>
            <a:off x="1072800" y="1584884"/>
            <a:ext cx="38448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  <a:lvl2pPr indent="-158400">
              <a:buSzPct val="125000"/>
              <a:defRPr sz="1300" baseline="0">
                <a:solidFill>
                  <a:schemeClr val="bg1"/>
                </a:solidFill>
              </a:defRPr>
            </a:lvl2pPr>
            <a:lvl3pPr indent="-158400">
              <a:buSzPct val="125000"/>
              <a:defRPr sz="1100">
                <a:solidFill>
                  <a:schemeClr val="bg1"/>
                </a:solidFill>
              </a:defRPr>
            </a:lvl3pPr>
            <a:lvl4pPr indent="-158400">
              <a:buSzPct val="125000"/>
              <a:defRPr sz="1000">
                <a:solidFill>
                  <a:schemeClr val="bg1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12" name="Tekstin paikkamerkki 28"/>
          <p:cNvSpPr>
            <a:spLocks noGrp="1"/>
          </p:cNvSpPr>
          <p:nvPr>
            <p:ph type="body" sz="quarter" idx="22" hasCustomPrompt="1"/>
          </p:nvPr>
        </p:nvSpPr>
        <p:spPr>
          <a:xfrm>
            <a:off x="1072800" y="1102950"/>
            <a:ext cx="38448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647428192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- sininen">
    <p:bg>
      <p:bgPr>
        <a:solidFill>
          <a:srgbClr val="141F9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uva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004" y="370433"/>
            <a:ext cx="437200" cy="437174"/>
          </a:xfrm>
          <a:prstGeom prst="rect">
            <a:avLst/>
          </a:prstGeom>
        </p:spPr>
      </p:pic>
      <p:sp>
        <p:nvSpPr>
          <p:cNvPr id="10" name="Tekstin paikkamerkki 28"/>
          <p:cNvSpPr>
            <a:spLocks noGrp="1"/>
          </p:cNvSpPr>
          <p:nvPr>
            <p:ph type="body" sz="quarter" idx="15" hasCustomPrompt="1"/>
          </p:nvPr>
        </p:nvSpPr>
        <p:spPr>
          <a:xfrm>
            <a:off x="1072800" y="1924882"/>
            <a:ext cx="6977283" cy="1165268"/>
          </a:xfrm>
          <a:prstGeom prst="rect">
            <a:avLst/>
          </a:prstGeom>
        </p:spPr>
        <p:txBody>
          <a:bodyPr/>
          <a:lstStyle>
            <a:lvl1pPr marL="10800" indent="0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2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chemeClr val="bg1"/>
                </a:solidFill>
              </a:defRPr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4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3A50D0A-99B9-48FE-8B08-047EE10ADBDA}" type="datetime1">
              <a:rPr lang="fi-FI" smtClean="0"/>
              <a:t>28.4.2021</a:t>
            </a:fld>
            <a:endParaRPr lang="fi-FI" dirty="0"/>
          </a:p>
        </p:txBody>
      </p:sp>
      <p:sp>
        <p:nvSpPr>
          <p:cNvPr id="15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4062311651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tekstille ja kuvalle - sininen">
    <p:bg>
      <p:bgPr>
        <a:solidFill>
          <a:srgbClr val="141F9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Kuvan paikkamerkki 6"/>
          <p:cNvSpPr>
            <a:spLocks noGrp="1"/>
          </p:cNvSpPr>
          <p:nvPr>
            <p:ph type="pic" sz="quarter" idx="18"/>
          </p:nvPr>
        </p:nvSpPr>
        <p:spPr>
          <a:xfrm>
            <a:off x="5090400" y="0"/>
            <a:ext cx="40536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bg1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9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EF2A4B-BD6C-442B-B37A-933F3A2F5101}" type="datetime1">
              <a:rPr lang="fi-FI" smtClean="0"/>
              <a:t>28.4.2021</a:t>
            </a:fld>
            <a:endParaRPr lang="fi-FI" dirty="0"/>
          </a:p>
        </p:txBody>
      </p:sp>
      <p:sp>
        <p:nvSpPr>
          <p:cNvPr id="10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2"/>
          <p:cNvSpPr>
            <a:spLocks noGrp="1"/>
          </p:cNvSpPr>
          <p:nvPr>
            <p:ph idx="21"/>
          </p:nvPr>
        </p:nvSpPr>
        <p:spPr>
          <a:xfrm>
            <a:off x="1072800" y="1585226"/>
            <a:ext cx="38448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  <a:lvl2pPr indent="-158400">
              <a:buSzPct val="125000"/>
              <a:defRPr sz="1300" baseline="0">
                <a:solidFill>
                  <a:schemeClr val="bg1"/>
                </a:solidFill>
              </a:defRPr>
            </a:lvl2pPr>
            <a:lvl3pPr indent="-158400">
              <a:buSzPct val="125000"/>
              <a:defRPr sz="1100">
                <a:solidFill>
                  <a:schemeClr val="bg1"/>
                </a:solidFill>
              </a:defRPr>
            </a:lvl3pPr>
            <a:lvl4pPr indent="-158400">
              <a:buSzPct val="125000"/>
              <a:defRPr sz="1000">
                <a:solidFill>
                  <a:schemeClr val="bg1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8" name="Tekstin paikkamerkki 28"/>
          <p:cNvSpPr>
            <a:spLocks noGrp="1"/>
          </p:cNvSpPr>
          <p:nvPr>
            <p:ph type="body" sz="quarter" idx="22" hasCustomPrompt="1"/>
          </p:nvPr>
        </p:nvSpPr>
        <p:spPr>
          <a:xfrm>
            <a:off x="1072800" y="1102950"/>
            <a:ext cx="38448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781393815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- violetti">
    <p:bg>
      <p:bgPr>
        <a:solidFill>
          <a:srgbClr val="8A0FA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uva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004" y="370433"/>
            <a:ext cx="437200" cy="437174"/>
          </a:xfrm>
          <a:prstGeom prst="rect">
            <a:avLst/>
          </a:prstGeom>
        </p:spPr>
      </p:pic>
      <p:sp>
        <p:nvSpPr>
          <p:cNvPr id="10" name="Tekstin paikkamerkki 28"/>
          <p:cNvSpPr>
            <a:spLocks noGrp="1"/>
          </p:cNvSpPr>
          <p:nvPr>
            <p:ph type="body" sz="quarter" idx="15" hasCustomPrompt="1"/>
          </p:nvPr>
        </p:nvSpPr>
        <p:spPr>
          <a:xfrm>
            <a:off x="1072800" y="1924882"/>
            <a:ext cx="6977283" cy="1165268"/>
          </a:xfrm>
          <a:prstGeom prst="rect">
            <a:avLst/>
          </a:prstGeom>
        </p:spPr>
        <p:txBody>
          <a:bodyPr/>
          <a:lstStyle>
            <a:lvl1pPr marL="10800" indent="0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2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chemeClr val="bg1"/>
                </a:solidFill>
              </a:defRPr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4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AA3CBEF-2865-4434-A020-1FAA7DCEF42D}" type="datetime1">
              <a:rPr lang="fi-FI" smtClean="0"/>
              <a:t>28.4.2021</a:t>
            </a:fld>
            <a:endParaRPr lang="fi-FI" dirty="0"/>
          </a:p>
        </p:txBody>
      </p:sp>
      <p:sp>
        <p:nvSpPr>
          <p:cNvPr id="15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30501944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image" Target="../media/image4.emf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34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33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äivämäärän paikkamerkki 3"/>
          <p:cNvSpPr>
            <a:spLocks noGrp="1"/>
          </p:cNvSpPr>
          <p:nvPr>
            <p:ph type="dt" sz="half" idx="2"/>
          </p:nvPr>
        </p:nvSpPr>
        <p:spPr>
          <a:xfrm>
            <a:off x="282027" y="4728047"/>
            <a:ext cx="919711" cy="163042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7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1B16F53B-7158-4458-A0D4-1436C88C6842}" type="datetime1">
              <a:rPr lang="fi-FI" smtClean="0"/>
              <a:t>28.4.2021</a:t>
            </a:fld>
            <a:endParaRPr lang="fi-FI" dirty="0"/>
          </a:p>
        </p:txBody>
      </p:sp>
      <p:sp>
        <p:nvSpPr>
          <p:cNvPr id="8" name="Alatunnisteen paikkamerkki 4"/>
          <p:cNvSpPr>
            <a:spLocks noGrp="1"/>
          </p:cNvSpPr>
          <p:nvPr>
            <p:ph type="ftr" sz="quarter" idx="3"/>
          </p:nvPr>
        </p:nvSpPr>
        <p:spPr>
          <a:xfrm>
            <a:off x="1111307" y="4728047"/>
            <a:ext cx="1296094" cy="163042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7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fi-FI" dirty="0"/>
              <a:t>Teknologiateollisuus</a:t>
            </a:r>
          </a:p>
        </p:txBody>
      </p:sp>
      <p:sp>
        <p:nvSpPr>
          <p:cNvPr id="26" name="Tekstin paikkamerkki 3"/>
          <p:cNvSpPr>
            <a:spLocks noGrp="1"/>
          </p:cNvSpPr>
          <p:nvPr>
            <p:ph type="body" idx="1"/>
          </p:nvPr>
        </p:nvSpPr>
        <p:spPr>
          <a:xfrm>
            <a:off x="1072801" y="1583532"/>
            <a:ext cx="7171199" cy="289321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i-FI" dirty="0"/>
              <a:t>Muokkaa tekstin perustyylejä napsauttamalla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</p:txBody>
      </p:sp>
      <p:sp>
        <p:nvSpPr>
          <p:cNvPr id="27" name="Otsikon paikkamerkki 2"/>
          <p:cNvSpPr>
            <a:spLocks noGrp="1"/>
          </p:cNvSpPr>
          <p:nvPr>
            <p:ph type="title"/>
          </p:nvPr>
        </p:nvSpPr>
        <p:spPr>
          <a:xfrm>
            <a:off x="1072801" y="1102950"/>
            <a:ext cx="7171199" cy="36718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fi-FI" dirty="0"/>
              <a:t>Muokkaa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3" name="Dian numeron paikkamerkki 1"/>
          <p:cNvSpPr>
            <a:spLocks noGrp="1"/>
          </p:cNvSpPr>
          <p:nvPr>
            <p:ph type="sldNum" sz="quarter" idx="4"/>
          </p:nvPr>
        </p:nvSpPr>
        <p:spPr>
          <a:xfrm>
            <a:off x="8005977" y="4729163"/>
            <a:ext cx="863990" cy="16668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700">
                <a:solidFill>
                  <a:schemeClr val="tx1"/>
                </a:solidFill>
              </a:defRPr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7299422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701" r:id="rId2"/>
    <p:sldLayoutId id="2147483664" r:id="rId3"/>
    <p:sldLayoutId id="2147483679" r:id="rId4"/>
    <p:sldLayoutId id="2147483665" r:id="rId5"/>
    <p:sldLayoutId id="2147483681" r:id="rId6"/>
    <p:sldLayoutId id="2147483666" r:id="rId7"/>
    <p:sldLayoutId id="2147483682" r:id="rId8"/>
    <p:sldLayoutId id="2147483667" r:id="rId9"/>
    <p:sldLayoutId id="2147483683" r:id="rId10"/>
    <p:sldLayoutId id="2147483668" r:id="rId11"/>
    <p:sldLayoutId id="2147483684" r:id="rId12"/>
    <p:sldLayoutId id="2147483669" r:id="rId13"/>
    <p:sldLayoutId id="2147483685" r:id="rId14"/>
    <p:sldLayoutId id="2147483670" r:id="rId15"/>
    <p:sldLayoutId id="2147483686" r:id="rId16"/>
    <p:sldLayoutId id="2147483671" r:id="rId17"/>
    <p:sldLayoutId id="2147483687" r:id="rId18"/>
    <p:sldLayoutId id="2147483702" r:id="rId19"/>
    <p:sldLayoutId id="2147483704" r:id="rId20"/>
    <p:sldLayoutId id="2147483680" r:id="rId21"/>
    <p:sldLayoutId id="2147483674" r:id="rId22"/>
    <p:sldLayoutId id="2147483691" r:id="rId23"/>
    <p:sldLayoutId id="2147483700" r:id="rId24"/>
    <p:sldLayoutId id="2147483696" r:id="rId25"/>
    <p:sldLayoutId id="2147483673" r:id="rId26"/>
    <p:sldLayoutId id="2147483703" r:id="rId27"/>
    <p:sldLayoutId id="2147483707" r:id="rId28"/>
    <p:sldLayoutId id="2147483708" r:id="rId29"/>
  </p:sldLayoutIdLst>
  <p:transition spd="med">
    <p:fade/>
  </p:transition>
  <p:hf hdr="0"/>
  <p:txStyles>
    <p:titleStyle>
      <a:lvl1pPr marL="14400" algn="l" defTabSz="806052" rtl="0" eaLnBrk="1" latinLnBrk="0" hangingPunct="1">
        <a:lnSpc>
          <a:spcPts val="2700"/>
        </a:lnSpc>
        <a:spcBef>
          <a:spcPts val="0"/>
        </a:spcBef>
        <a:spcAft>
          <a:spcPts val="0"/>
        </a:spcAft>
        <a:buNone/>
        <a:defRPr sz="2200" b="1" kern="1200" spc="-35" baseline="0">
          <a:solidFill>
            <a:srgbClr val="000000"/>
          </a:solidFill>
          <a:latin typeface="+mj-lt"/>
          <a:ea typeface="Adobe Fan Heiti Std B" panose="020B0700000000000000" pitchFamily="34" charset="-128"/>
          <a:cs typeface="Adobe Hebrew" panose="02040503050201020203" pitchFamily="18" charset="-79"/>
        </a:defRPr>
      </a:lvl1pPr>
    </p:titleStyle>
    <p:bodyStyle>
      <a:lvl1pPr marL="234000" indent="-212400" algn="l" defTabSz="806052" rtl="0" eaLnBrk="1" latinLnBrk="0" hangingPunct="1">
        <a:lnSpc>
          <a:spcPts val="2000"/>
        </a:lnSpc>
        <a:spcBef>
          <a:spcPts val="400"/>
        </a:spcBef>
        <a:spcAft>
          <a:spcPts val="300"/>
        </a:spcAft>
        <a:buClrTx/>
        <a:buSzPct val="125000"/>
        <a:buFont typeface="Arial" panose="020B0604020202020204" pitchFamily="34" charset="0"/>
        <a:buChar char="•"/>
        <a:defRPr sz="1600" kern="1200" spc="-35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629732" indent="-158400" algn="l" defTabSz="806052" rtl="0" eaLnBrk="1" latinLnBrk="0" hangingPunct="1">
        <a:lnSpc>
          <a:spcPts val="1800"/>
        </a:lnSpc>
        <a:spcBef>
          <a:spcPts val="200"/>
        </a:spcBef>
        <a:spcAft>
          <a:spcPts val="200"/>
        </a:spcAft>
        <a:buClrTx/>
        <a:buSzPct val="125000"/>
        <a:buFont typeface="Arial" pitchFamily="34" charset="0"/>
        <a:buChar char="–"/>
        <a:defRPr sz="1300" kern="1200" spc="-35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944591" indent="-158400" algn="l" defTabSz="806052" rtl="0" eaLnBrk="1" latinLnBrk="0" hangingPunct="1">
        <a:lnSpc>
          <a:spcPts val="1800"/>
        </a:lnSpc>
        <a:spcBef>
          <a:spcPts val="200"/>
        </a:spcBef>
        <a:spcAft>
          <a:spcPts val="200"/>
        </a:spcAft>
        <a:buClrTx/>
        <a:buSzPct val="125000"/>
        <a:buFont typeface="Arial" panose="020B0604020202020204" pitchFamily="34" charset="0"/>
        <a:buChar char="•"/>
        <a:defRPr sz="1050" kern="1200" spc="-35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1267851" indent="-158400" algn="l" defTabSz="806052" rtl="0" eaLnBrk="1" latinLnBrk="0" hangingPunct="1">
        <a:lnSpc>
          <a:spcPts val="1800"/>
        </a:lnSpc>
        <a:spcBef>
          <a:spcPts val="200"/>
        </a:spcBef>
        <a:spcAft>
          <a:spcPts val="200"/>
        </a:spcAft>
        <a:buClrTx/>
        <a:buSzPct val="125000"/>
        <a:buFont typeface="Arial" pitchFamily="34" charset="0"/>
        <a:buChar char="–"/>
        <a:defRPr sz="1050" kern="1200" spc="-35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1582718" indent="-158400" algn="l" defTabSz="806052" rtl="0" eaLnBrk="1" latinLnBrk="0" hangingPunct="1">
        <a:lnSpc>
          <a:spcPts val="2000"/>
        </a:lnSpc>
        <a:spcBef>
          <a:spcPts val="400"/>
        </a:spcBef>
        <a:spcAft>
          <a:spcPts val="300"/>
        </a:spcAft>
        <a:buClrTx/>
        <a:buSzPct val="125000"/>
        <a:buFont typeface="Arial" panose="020B0604020202020204" pitchFamily="34" charset="0"/>
        <a:buChar char="•"/>
        <a:defRPr sz="1000" kern="1200" spc="-35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2216640" indent="-201515" algn="l" defTabSz="806052" rtl="0" eaLnBrk="1" latinLnBrk="0" hangingPunct="1">
        <a:spcBef>
          <a:spcPct val="20000"/>
        </a:spcBef>
        <a:buFont typeface="Arial" pitchFamily="34" charset="0"/>
        <a:buChar char="•"/>
        <a:defRPr sz="1856" kern="1200">
          <a:solidFill>
            <a:schemeClr val="tx1"/>
          </a:solidFill>
          <a:latin typeface="+mn-lt"/>
          <a:ea typeface="+mn-ea"/>
          <a:cs typeface="+mn-cs"/>
        </a:defRPr>
      </a:lvl6pPr>
      <a:lvl7pPr marL="2619666" indent="-201515" algn="l" defTabSz="806052" rtl="0" eaLnBrk="1" latinLnBrk="0" hangingPunct="1">
        <a:spcBef>
          <a:spcPct val="20000"/>
        </a:spcBef>
        <a:buFont typeface="Arial" pitchFamily="34" charset="0"/>
        <a:buChar char="•"/>
        <a:defRPr sz="1856" kern="1200">
          <a:solidFill>
            <a:schemeClr val="tx1"/>
          </a:solidFill>
          <a:latin typeface="+mn-lt"/>
          <a:ea typeface="+mn-ea"/>
          <a:cs typeface="+mn-cs"/>
        </a:defRPr>
      </a:lvl7pPr>
      <a:lvl8pPr marL="3022694" indent="-201515" algn="l" defTabSz="806052" rtl="0" eaLnBrk="1" latinLnBrk="0" hangingPunct="1">
        <a:spcBef>
          <a:spcPct val="20000"/>
        </a:spcBef>
        <a:buFont typeface="Arial" pitchFamily="34" charset="0"/>
        <a:buChar char="•"/>
        <a:defRPr sz="1856" kern="1200">
          <a:solidFill>
            <a:schemeClr val="tx1"/>
          </a:solidFill>
          <a:latin typeface="+mn-lt"/>
          <a:ea typeface="+mn-ea"/>
          <a:cs typeface="+mn-cs"/>
        </a:defRPr>
      </a:lvl8pPr>
      <a:lvl9pPr marL="3425719" indent="-201515" algn="l" defTabSz="806052" rtl="0" eaLnBrk="1" latinLnBrk="0" hangingPunct="1">
        <a:spcBef>
          <a:spcPct val="20000"/>
        </a:spcBef>
        <a:buFont typeface="Arial" pitchFamily="34" charset="0"/>
        <a:buChar char="•"/>
        <a:defRPr sz="185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806052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1pPr>
      <a:lvl2pPr marL="403025" algn="l" defTabSz="806052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2pPr>
      <a:lvl3pPr marL="806052" algn="l" defTabSz="806052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3pPr>
      <a:lvl4pPr marL="1209078" algn="l" defTabSz="806052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4pPr>
      <a:lvl5pPr marL="1612105" algn="l" defTabSz="806052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5pPr>
      <a:lvl6pPr marL="2015123" algn="l" defTabSz="806052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6pPr>
      <a:lvl7pPr marL="2418157" algn="l" defTabSz="806052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7pPr>
      <a:lvl8pPr marL="2821180" algn="l" defTabSz="806052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8pPr>
      <a:lvl9pPr marL="3224205" algn="l" defTabSz="806052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0" pos="5520" userDrawn="1">
          <p15:clr>
            <a:srgbClr val="F26B43"/>
          </p15:clr>
        </p15:guide>
        <p15:guide id="22" orient="horz" pos="3062" userDrawn="1">
          <p15:clr>
            <a:srgbClr val="F26B43"/>
          </p15:clr>
        </p15:guide>
        <p15:guide id="23" orient="horz" pos="232" userDrawn="1">
          <p15:clr>
            <a:srgbClr val="F26B43"/>
          </p15:clr>
        </p15:guide>
        <p15:guide id="26" pos="240" userDrawn="1">
          <p15:clr>
            <a:srgbClr val="F26B43"/>
          </p15:clr>
        </p15:guide>
        <p15:guide id="27" pos="757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81049750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216" imgH="216" progId="TCLayout.ActiveDocument.1">
                  <p:embed/>
                </p:oleObj>
              </mc:Choice>
              <mc:Fallback>
                <p:oleObj name="think-cell Slide" r:id="rId11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B2999A80-A87B-4C57-8050-86B60043C63C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fi-FI" sz="1800" b="1" i="0" baseline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8764" y="114577"/>
            <a:ext cx="8618537" cy="58210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/>
            <a:r>
              <a:rPr lang="fi-FI" dirty="0"/>
              <a:t>Content </a:t>
            </a:r>
            <a:r>
              <a:rPr lang="fi-FI" dirty="0" err="1"/>
              <a:t>title</a:t>
            </a:r>
            <a:endParaRPr lang="fi-FI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04465" y="4933765"/>
            <a:ext cx="578213" cy="144215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="1" i="0">
                <a:solidFill>
                  <a:srgbClr val="919191"/>
                </a:solidFill>
                <a:latin typeface="Arial Bold"/>
              </a:defRPr>
            </a:lvl1pPr>
          </a:lstStyle>
          <a:p>
            <a:fld id="{0D558541-60C9-42A2-8392-FF12533A6B7A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9319373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5" r:id="rId5"/>
    <p:sldLayoutId id="2147483716" r:id="rId6"/>
    <p:sldLayoutId id="2147483717" r:id="rId7"/>
  </p:sldLayoutIdLst>
  <p:hf hdr="0" ftr="0" dt="0"/>
  <p:txStyles>
    <p:titleStyle>
      <a:lvl1pPr algn="l" defTabSz="1300976" rtl="0" eaLnBrk="1" latinLnBrk="0" hangingPunct="1">
        <a:lnSpc>
          <a:spcPct val="80000"/>
        </a:lnSpc>
        <a:spcBef>
          <a:spcPct val="0"/>
        </a:spcBef>
        <a:buNone/>
        <a:defRPr lang="en-US" sz="1800" b="1" i="0" kern="1200" cap="none" spc="0" baseline="0">
          <a:solidFill>
            <a:schemeClr val="tx1"/>
          </a:solidFill>
          <a:latin typeface="+mn-lt"/>
          <a:ea typeface="Arial Black" charset="0"/>
          <a:cs typeface="Arial Black" charset="0"/>
        </a:defRPr>
      </a:lvl1pPr>
    </p:titleStyle>
    <p:bodyStyle>
      <a:lvl1pPr marL="0" indent="0" algn="l" defTabSz="1300976" rtl="0" eaLnBrk="1" latinLnBrk="0" hangingPunct="1">
        <a:lnSpc>
          <a:spcPct val="90000"/>
        </a:lnSpc>
        <a:spcBef>
          <a:spcPts val="600"/>
        </a:spcBef>
        <a:buFont typeface="Arial" charset="0"/>
        <a:buNone/>
        <a:defRPr sz="1600" b="1" i="0" kern="1200" cap="none" baseline="0">
          <a:solidFill>
            <a:schemeClr val="tx1"/>
          </a:solidFill>
          <a:latin typeface="+mn-lt"/>
          <a:ea typeface="Arial Black" charset="0"/>
          <a:cs typeface="Arial Black" charset="0"/>
        </a:defRPr>
      </a:lvl1pPr>
      <a:lvl2pPr marL="0" indent="0" algn="l" defTabSz="1300976" rtl="0" eaLnBrk="1" latinLnBrk="0" hangingPunct="1">
        <a:lnSpc>
          <a:spcPct val="90000"/>
        </a:lnSpc>
        <a:spcBef>
          <a:spcPts val="600"/>
        </a:spcBef>
        <a:buFont typeface="Arial" charset="0"/>
        <a:buNone/>
        <a:defRPr sz="1600" b="0" i="0" kern="1200" cap="none" baseline="0">
          <a:solidFill>
            <a:schemeClr val="tx1"/>
          </a:solidFill>
          <a:latin typeface="+mn-lt"/>
          <a:ea typeface="Arial Black" charset="0"/>
          <a:cs typeface="Arial Black" charset="0"/>
        </a:defRPr>
      </a:lvl2pPr>
      <a:lvl3pPr marL="144460" indent="-144460" algn="l" defTabSz="1300976" rtl="0" eaLnBrk="1" latinLnBrk="0" hangingPunct="1">
        <a:lnSpc>
          <a:spcPct val="90000"/>
        </a:lnSpc>
        <a:spcBef>
          <a:spcPts val="600"/>
        </a:spcBef>
        <a:buFont typeface="Arial" charset="0"/>
        <a:buChar char="•"/>
        <a:tabLst/>
        <a:defRPr sz="1600" b="0" i="0" kern="1200" cap="none" baseline="0">
          <a:solidFill>
            <a:schemeClr val="tx1"/>
          </a:solidFill>
          <a:latin typeface="+mn-lt"/>
          <a:ea typeface="Arial Black" charset="0"/>
          <a:cs typeface="Arial Black" charset="0"/>
        </a:defRPr>
      </a:lvl3pPr>
      <a:lvl4pPr marL="0" indent="0" algn="l" defTabSz="1300976" rtl="0" eaLnBrk="1" latinLnBrk="0" hangingPunct="1">
        <a:lnSpc>
          <a:spcPct val="90000"/>
        </a:lnSpc>
        <a:spcBef>
          <a:spcPts val="600"/>
        </a:spcBef>
        <a:buFont typeface="Arial" charset="0"/>
        <a:buNone/>
        <a:defRPr sz="1600" b="1" i="0" kern="1200" cap="none" baseline="0">
          <a:solidFill>
            <a:schemeClr val="tx2"/>
          </a:solidFill>
          <a:latin typeface="+mn-lt"/>
          <a:ea typeface="Arial Black" charset="0"/>
          <a:cs typeface="Arial Black" charset="0"/>
        </a:defRPr>
      </a:lvl4pPr>
      <a:lvl5pPr marL="0" indent="0" algn="l" defTabSz="1300976" rtl="0" eaLnBrk="1" latinLnBrk="0" hangingPunct="1">
        <a:lnSpc>
          <a:spcPct val="90000"/>
        </a:lnSpc>
        <a:spcBef>
          <a:spcPts val="600"/>
        </a:spcBef>
        <a:buFont typeface="Arial" charset="0"/>
        <a:buNone/>
        <a:defRPr sz="1600" b="0" i="0" kern="1200" cap="none" baseline="0">
          <a:solidFill>
            <a:schemeClr val="tx2"/>
          </a:solidFill>
          <a:latin typeface="+mn-lt"/>
          <a:ea typeface="Arial Black" charset="0"/>
          <a:cs typeface="Arial Black" charset="0"/>
        </a:defRPr>
      </a:lvl5pPr>
      <a:lvl6pPr marL="171446" indent="-136522" algn="l" defTabSz="1300976" rtl="0" eaLnBrk="1" latinLnBrk="0" hangingPunct="1">
        <a:lnSpc>
          <a:spcPct val="90000"/>
        </a:lnSpc>
        <a:spcBef>
          <a:spcPts val="600"/>
        </a:spcBef>
        <a:buFont typeface="Arial" charset="0"/>
        <a:buChar char="•"/>
        <a:tabLst/>
        <a:defRPr sz="1600" b="0" i="0" kern="1200" cap="none" baseline="0">
          <a:solidFill>
            <a:schemeClr val="tx2"/>
          </a:solidFill>
          <a:latin typeface="+mn-lt"/>
          <a:ea typeface="Arial Bold" charset="0"/>
          <a:cs typeface="Arial Bold" charset="0"/>
        </a:defRPr>
      </a:lvl6pPr>
      <a:lvl7pPr marL="0" indent="0" algn="l" defTabSz="1300976" rtl="0" eaLnBrk="1" latinLnBrk="0" hangingPunct="1">
        <a:lnSpc>
          <a:spcPct val="90000"/>
        </a:lnSpc>
        <a:spcBef>
          <a:spcPts val="600"/>
        </a:spcBef>
        <a:buFont typeface="Arial" charset="0"/>
        <a:buNone/>
        <a:defRPr sz="1400" b="1" i="0" kern="1200" cap="none" baseline="0">
          <a:solidFill>
            <a:schemeClr val="tx1"/>
          </a:solidFill>
          <a:latin typeface="+mn-lt"/>
          <a:ea typeface="Arial Bold" charset="0"/>
          <a:cs typeface="Arial Bold" charset="0"/>
        </a:defRPr>
      </a:lvl7pPr>
      <a:lvl8pPr marL="0" indent="0" algn="l" defTabSz="1300976" rtl="0" eaLnBrk="1" latinLnBrk="0" hangingPunct="1">
        <a:lnSpc>
          <a:spcPct val="90000"/>
        </a:lnSpc>
        <a:spcBef>
          <a:spcPts val="600"/>
        </a:spcBef>
        <a:buFont typeface="Arial" charset="0"/>
        <a:buNone/>
        <a:defRPr sz="1400" b="0" i="0" kern="1200" cap="none" baseline="0">
          <a:solidFill>
            <a:schemeClr val="tx1"/>
          </a:solidFill>
          <a:latin typeface="+mn-lt"/>
          <a:ea typeface="Arial Bold" charset="0"/>
          <a:cs typeface="Arial Bold" charset="0"/>
        </a:defRPr>
      </a:lvl8pPr>
      <a:lvl9pPr marL="144460" indent="-144460" algn="l" defTabSz="1300976" rtl="0" eaLnBrk="1" latinLnBrk="0" hangingPunct="1">
        <a:lnSpc>
          <a:spcPct val="90000"/>
        </a:lnSpc>
        <a:spcBef>
          <a:spcPts val="600"/>
        </a:spcBef>
        <a:buFont typeface="Arial" charset="0"/>
        <a:buChar char="•"/>
        <a:tabLst/>
        <a:defRPr sz="1400" b="0" i="0" kern="1200" cap="none" baseline="0">
          <a:solidFill>
            <a:schemeClr val="tx1"/>
          </a:solidFill>
          <a:latin typeface="+mn-lt"/>
          <a:ea typeface="Arial Black" charset="0"/>
          <a:cs typeface="Arial Black" charset="0"/>
        </a:defRPr>
      </a:lvl9pPr>
    </p:bodyStyle>
    <p:otherStyle>
      <a:defPPr>
        <a:defRPr lang="en-US"/>
      </a:defPPr>
      <a:lvl1pPr marL="0" algn="l" defTabSz="130097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50488" algn="l" defTabSz="130097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300976" algn="l" defTabSz="130097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951463" algn="l" defTabSz="130097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601952" algn="l" defTabSz="130097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252440" algn="l" defTabSz="130097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902927" algn="l" defTabSz="130097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553415" algn="l" defTabSz="130097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203903" algn="l" defTabSz="130097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96">
          <p15:clr>
            <a:srgbClr val="F26B43"/>
          </p15:clr>
        </p15:guide>
        <p15:guide id="2" pos="2880">
          <p15:clr>
            <a:srgbClr val="F26B43"/>
          </p15:clr>
        </p15:guide>
        <p15:guide id="3" pos="163">
          <p15:clr>
            <a:srgbClr val="F26B43"/>
          </p15:clr>
        </p15:guide>
        <p15:guide id="4" pos="5592">
          <p15:clr>
            <a:srgbClr val="F26B43"/>
          </p15:clr>
        </p15:guide>
        <p15:guide id="5" orient="horz" pos="852">
          <p15:clr>
            <a:srgbClr val="F26B43"/>
          </p15:clr>
        </p15:guide>
        <p15:guide id="7" orient="horz" pos="156">
          <p15:clr>
            <a:srgbClr val="F26B43"/>
          </p15:clr>
        </p15:guide>
        <p15:guide id="8" orient="horz" pos="2868">
          <p15:clr>
            <a:srgbClr val="F26B43"/>
          </p15:clr>
        </p15:guide>
        <p15:guide id="9" orient="horz" pos="1524">
          <p15:clr>
            <a:srgbClr val="F26B43"/>
          </p15:clr>
        </p15:guide>
        <p15:guide id="10" orient="horz" pos="308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2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2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2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2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2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63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emf"/><Relationship Id="rId2" Type="http://schemas.openxmlformats.org/officeDocument/2006/relationships/oleObject" Target="../embeddings/oleObject9.bin"/><Relationship Id="rId1" Type="http://schemas.openxmlformats.org/officeDocument/2006/relationships/slideLayout" Target="../slideLayouts/slideLayout2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emf"/><Relationship Id="rId2" Type="http://schemas.openxmlformats.org/officeDocument/2006/relationships/oleObject" Target="../embeddings/oleObject10.bin"/><Relationship Id="rId1" Type="http://schemas.openxmlformats.org/officeDocument/2006/relationships/slideLayout" Target="../slideLayouts/slideLayout2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>
            <a:extLst>
              <a:ext uri="{FF2B5EF4-FFF2-40B4-BE49-F238E27FC236}">
                <a16:creationId xmlns:a16="http://schemas.microsoft.com/office/drawing/2014/main" id="{50FC3B40-AC30-46E2-BCAD-E388935D70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i-FI" dirty="0"/>
              <a:t>Teknologiateollisuuden Talousnäkymät</a:t>
            </a:r>
          </a:p>
          <a:p>
            <a:r>
              <a:rPr lang="fi-FI" dirty="0"/>
              <a:t>29.4.2021</a:t>
            </a:r>
          </a:p>
          <a:p>
            <a:endParaRPr lang="fi-FI" dirty="0"/>
          </a:p>
          <a:p>
            <a:r>
              <a:rPr lang="fi-FI" dirty="0"/>
              <a:t>Pääekonomisti</a:t>
            </a:r>
          </a:p>
          <a:p>
            <a:r>
              <a:rPr lang="fi-FI" dirty="0"/>
              <a:t>Petteri Rautaporras</a:t>
            </a:r>
          </a:p>
        </p:txBody>
      </p:sp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15E6AE94-550F-4A51-A044-3C71A83A33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1</a:t>
            </a:fld>
            <a:endParaRPr lang="fi-FI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7AB86DA5-6B79-4508-BE0A-50E52FDDE2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D0C29F-D373-4791-88C9-86C29F06AD83}" type="datetime1">
              <a:rPr lang="fi-FI" smtClean="0"/>
              <a:t>28.4.2021</a:t>
            </a:fld>
            <a:endParaRPr lang="fi-FI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DBE36005-B164-4A53-BF16-046D6853FB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607371377"/>
      </p:ext>
    </p:extLst>
  </p:cSld>
  <p:clrMapOvr>
    <a:masterClrMapping/>
  </p:clrMapOvr>
  <p:transition spd="med"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>
            <a:extLst>
              <a:ext uri="{FF2B5EF4-FFF2-40B4-BE49-F238E27FC236}">
                <a16:creationId xmlns:a16="http://schemas.microsoft.com/office/drawing/2014/main" id="{BC206263-2FBC-4388-99DE-3677A24ED3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i-FI" dirty="0"/>
              <a:t>Suurimmaksi haasteeksi noussut komponenttien, välituotteiden ja raaka-aineiden saatavuus</a:t>
            </a:r>
          </a:p>
        </p:txBody>
      </p:sp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D61B8DCF-DCB3-4984-9C5C-D8DA542BF8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10</a:t>
            </a:fld>
            <a:endParaRPr lang="fi-FI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897910E6-DA0A-49E1-A6D8-6F020C4812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C97DB-DA9C-4CFA-B970-B8599B25F3E4}" type="datetime1">
              <a:rPr lang="fi-FI" smtClean="0"/>
              <a:t>28.4.2021</a:t>
            </a:fld>
            <a:endParaRPr lang="fi-FI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2C3CBCE9-EAA9-46B0-8BF1-BE36DC2563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graphicFrame>
        <p:nvGraphicFramePr>
          <p:cNvPr id="10" name="Sisällön paikkamerkki 9">
            <a:extLst>
              <a:ext uri="{FF2B5EF4-FFF2-40B4-BE49-F238E27FC236}">
                <a16:creationId xmlns:a16="http://schemas.microsoft.com/office/drawing/2014/main" id="{18E8B046-CFAB-4548-870D-B60086FFDE2A}"/>
              </a:ext>
            </a:extLst>
          </p:cNvPr>
          <p:cNvGraphicFramePr>
            <a:graphicFrameLocks noGrp="1"/>
          </p:cNvGraphicFramePr>
          <p:nvPr>
            <p:ph sz="quarter" idx="17"/>
          </p:nvPr>
        </p:nvGraphicFramePr>
        <p:xfrm>
          <a:off x="107504" y="1301562"/>
          <a:ext cx="8928992" cy="33434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Tekstin paikkamerkki 6">
            <a:extLst>
              <a:ext uri="{FF2B5EF4-FFF2-40B4-BE49-F238E27FC236}">
                <a16:creationId xmlns:a16="http://schemas.microsoft.com/office/drawing/2014/main" id="{3687ADC7-98F5-412F-B49B-43449BFC94B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334681" y="4727574"/>
            <a:ext cx="6535285" cy="288863"/>
          </a:xfrm>
        </p:spPr>
        <p:txBody>
          <a:bodyPr/>
          <a:lstStyle/>
          <a:p>
            <a:r>
              <a:rPr lang="fi-FI" dirty="0"/>
              <a:t>Lähde: Teknologiateollisuus ry:n koronapulssi –jäsenkyselyt</a:t>
            </a:r>
          </a:p>
          <a:p>
            <a:r>
              <a:rPr lang="fi-FI" dirty="0"/>
              <a:t>7.12.2020 n=532, 4.2.2021 n=523, 29.4.2021 n=449.</a:t>
            </a:r>
          </a:p>
        </p:txBody>
      </p:sp>
      <p:sp>
        <p:nvSpPr>
          <p:cNvPr id="6" name="Tekstiruutu 5">
            <a:extLst>
              <a:ext uri="{FF2B5EF4-FFF2-40B4-BE49-F238E27FC236}">
                <a16:creationId xmlns:a16="http://schemas.microsoft.com/office/drawing/2014/main" id="{45D50DC8-ABBB-41E5-ADB8-3ED2DBB38EE2}"/>
              </a:ext>
            </a:extLst>
          </p:cNvPr>
          <p:cNvSpPr txBox="1"/>
          <p:nvPr/>
        </p:nvSpPr>
        <p:spPr>
          <a:xfrm>
            <a:off x="1790610" y="1168355"/>
            <a:ext cx="5904656" cy="2419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fi-FI" sz="1050" spc="-40" dirty="0">
                <a:solidFill>
                  <a:srgbClr val="000000"/>
                </a:solidFill>
              </a:rPr>
              <a:t>Niiden yritysten osuus, jotka vastasivat ongelman vaikeuttavan toimintaa erittäin paljon</a:t>
            </a:r>
          </a:p>
        </p:txBody>
      </p:sp>
    </p:spTree>
    <p:extLst>
      <p:ext uri="{BB962C8B-B14F-4D97-AF65-F5344CB8AC3E}">
        <p14:creationId xmlns:p14="http://schemas.microsoft.com/office/powerpoint/2010/main" val="3421334924"/>
      </p:ext>
    </p:extLst>
  </p:cSld>
  <p:clrMapOvr>
    <a:masterClrMapping/>
  </p:clrMapOvr>
  <p:transition spd="med"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/>
          <p:cNvSpPr>
            <a:spLocks noGrp="1"/>
          </p:cNvSpPr>
          <p:nvPr>
            <p:ph type="body" sz="quarter" idx="15"/>
          </p:nvPr>
        </p:nvSpPr>
        <p:spPr>
          <a:xfrm>
            <a:off x="252000" y="282150"/>
            <a:ext cx="7992000" cy="863978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fi-FI"/>
              <a:t>Teknologiateollisuuden yritysten saamat tarjouspyynnöt Suomessa* </a:t>
            </a:r>
            <a:endParaRPr lang="fi-FI" sz="1600" b="0"/>
          </a:p>
        </p:txBody>
      </p:sp>
      <p:sp>
        <p:nvSpPr>
          <p:cNvPr id="3" name="Dian numeron paikkamerkki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>
                <a:solidFill>
                  <a:srgbClr val="29282E"/>
                </a:solidFill>
              </a:rPr>
              <a:pPr/>
              <a:t>11</a:t>
            </a:fld>
            <a:endParaRPr lang="fi-FI">
              <a:solidFill>
                <a:srgbClr val="29282E"/>
              </a:solidFill>
            </a:endParaRP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C97DB-DA9C-4CFA-B970-B8599B25F3E4}" type="datetime1">
              <a:rPr lang="fi-FI" smtClean="0">
                <a:solidFill>
                  <a:srgbClr val="29282E"/>
                </a:solidFill>
              </a:rPr>
              <a:pPr/>
              <a:t>28.4.2021</a:t>
            </a:fld>
            <a:endParaRPr lang="fi-FI">
              <a:solidFill>
                <a:srgbClr val="29282E"/>
              </a:solidFill>
            </a:endParaRPr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>
                <a:solidFill>
                  <a:srgbClr val="29282E"/>
                </a:solidFill>
              </a:rPr>
              <a:t>Teknologiateollisuus</a:t>
            </a:r>
          </a:p>
        </p:txBody>
      </p:sp>
      <p:sp>
        <p:nvSpPr>
          <p:cNvPr id="7" name="Tekstin paikkamerkki 6"/>
          <p:cNvSpPr>
            <a:spLocks noGrp="1"/>
          </p:cNvSpPr>
          <p:nvPr>
            <p:ph type="body" sz="quarter" idx="18"/>
          </p:nvPr>
        </p:nvSpPr>
        <p:spPr>
          <a:xfrm>
            <a:off x="2334682" y="4727574"/>
            <a:ext cx="3029406" cy="292448"/>
          </a:xfrm>
        </p:spPr>
        <p:txBody>
          <a:bodyPr/>
          <a:lstStyle/>
          <a:p>
            <a:r>
              <a:rPr lang="fi-FI" dirty="0"/>
              <a:t>Lähde: Teknologiateollisuus ry:n tilauskantatiedustelu, </a:t>
            </a:r>
          </a:p>
          <a:p>
            <a:r>
              <a:rPr lang="fi-FI" dirty="0"/>
              <a:t>viimeisin kyselyajankohta huhtikuu 2021. </a:t>
            </a:r>
          </a:p>
          <a:p>
            <a:endParaRPr lang="fi-FI" dirty="0"/>
          </a:p>
        </p:txBody>
      </p:sp>
      <p:graphicFrame>
        <p:nvGraphicFramePr>
          <p:cNvPr id="8" name="Sisällön paikkamerkki 7"/>
          <p:cNvGraphicFramePr>
            <a:graphicFrameLocks noGrp="1"/>
          </p:cNvGraphicFramePr>
          <p:nvPr>
            <p:ph sz="quarter" idx="17"/>
          </p:nvPr>
        </p:nvGraphicFramePr>
        <p:xfrm>
          <a:off x="381000" y="1081328"/>
          <a:ext cx="8391525" cy="33048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Suorakulmio 5"/>
          <p:cNvSpPr/>
          <p:nvPr/>
        </p:nvSpPr>
        <p:spPr>
          <a:xfrm>
            <a:off x="609192" y="4288357"/>
            <a:ext cx="822410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i-FI" sz="800" dirty="0"/>
              <a:t>*) ”Onko tarjouspyyntöjen määrässä viime viikkoina näkyvissä oleellista vähenemistä tai lisääntymistä, kun verrataan tilannetta noin kolme kuukautta sitten vallinneeseen tilanteeseen”. Saldoluku = niiden yritysten osuus, joissa tarjouspyyntöjen määrä on lisääntynyt – niiden yritysten määrä, joissa tarjouspyyntöjen määrä on vähentynyt. Negatiivinen saldoluku viittaa kysynnän heikentymiseen kolme kuukautta sitten vallinneeseen tilanteeseen nähden.</a:t>
            </a:r>
          </a:p>
        </p:txBody>
      </p:sp>
      <p:graphicFrame>
        <p:nvGraphicFramePr>
          <p:cNvPr id="10" name="Taulukko 9">
            <a:extLst>
              <a:ext uri="{FF2B5EF4-FFF2-40B4-BE49-F238E27FC236}">
                <a16:creationId xmlns:a16="http://schemas.microsoft.com/office/drawing/2014/main" id="{CD03F6E4-A1DB-4839-B471-E329EB65AB8B}"/>
              </a:ext>
            </a:extLst>
          </p:cNvPr>
          <p:cNvGraphicFramePr>
            <a:graphicFrameLocks noGrp="1"/>
          </p:cNvGraphicFramePr>
          <p:nvPr/>
        </p:nvGraphicFramePr>
        <p:xfrm>
          <a:off x="740375" y="2449415"/>
          <a:ext cx="7874991" cy="280504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56327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6975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6255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6255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6255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6255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6255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56255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561110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561110">
                  <a:extLst>
                    <a:ext uri="{9D8B030D-6E8A-4147-A177-3AD203B41FA5}">
                      <a16:colId xmlns:a16="http://schemas.microsoft.com/office/drawing/2014/main" val="3822871466"/>
                    </a:ext>
                  </a:extLst>
                </a:gridCol>
                <a:gridCol w="561110">
                  <a:extLst>
                    <a:ext uri="{9D8B030D-6E8A-4147-A177-3AD203B41FA5}">
                      <a16:colId xmlns:a16="http://schemas.microsoft.com/office/drawing/2014/main" val="727455605"/>
                    </a:ext>
                  </a:extLst>
                </a:gridCol>
                <a:gridCol w="561110">
                  <a:extLst>
                    <a:ext uri="{9D8B030D-6E8A-4147-A177-3AD203B41FA5}">
                      <a16:colId xmlns:a16="http://schemas.microsoft.com/office/drawing/2014/main" val="134493250"/>
                    </a:ext>
                  </a:extLst>
                </a:gridCol>
                <a:gridCol w="561110">
                  <a:extLst>
                    <a:ext uri="{9D8B030D-6E8A-4147-A177-3AD203B41FA5}">
                      <a16:colId xmlns:a16="http://schemas.microsoft.com/office/drawing/2014/main" val="1761203323"/>
                    </a:ext>
                  </a:extLst>
                </a:gridCol>
                <a:gridCol w="561110">
                  <a:extLst>
                    <a:ext uri="{9D8B030D-6E8A-4147-A177-3AD203B41FA5}">
                      <a16:colId xmlns:a16="http://schemas.microsoft.com/office/drawing/2014/main" val="2330874930"/>
                    </a:ext>
                  </a:extLst>
                </a:gridCol>
              </a:tblGrid>
              <a:tr h="280504"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08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09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0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1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2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3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4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5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6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9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20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21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43890610"/>
      </p:ext>
    </p:extLst>
  </p:cSld>
  <p:clrMapOvr>
    <a:masterClrMapping/>
  </p:clrMapOvr>
  <p:transition spd="med"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/>
          <p:cNvSpPr>
            <a:spLocks noGrp="1"/>
          </p:cNvSpPr>
          <p:nvPr>
            <p:ph type="body" sz="quarter" idx="15"/>
          </p:nvPr>
        </p:nvSpPr>
        <p:spPr>
          <a:xfrm>
            <a:off x="252000" y="282150"/>
            <a:ext cx="8421552" cy="648000"/>
          </a:xfrm>
        </p:spPr>
        <p:txBody>
          <a:bodyPr/>
          <a:lstStyle/>
          <a:p>
            <a:r>
              <a:rPr lang="fi-FI" dirty="0"/>
              <a:t>Teknologiateollisuuden* uudet tilaukset Suomessa</a:t>
            </a:r>
          </a:p>
        </p:txBody>
      </p:sp>
      <p:sp>
        <p:nvSpPr>
          <p:cNvPr id="3" name="Dian numeron paikkamerkki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798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CB6B90-8271-4E8F-82C1-E646FBB48A2E}" type="slidenum">
              <a:rPr kumimoji="0" lang="fi-FI" sz="700" b="0" i="0" u="none" strike="noStrike" kern="1200" cap="none" spc="0" normalizeH="0" baseline="0" noProof="0" smtClean="0">
                <a:ln>
                  <a:noFill/>
                </a:ln>
                <a:solidFill>
                  <a:srgbClr val="29282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6798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fi-FI" sz="700" b="0" i="0" u="none" strike="noStrike" kern="1200" cap="none" spc="0" normalizeH="0" baseline="0" noProof="0" dirty="0">
              <a:ln>
                <a:noFill/>
              </a:ln>
              <a:solidFill>
                <a:srgbClr val="29282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6798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70C97DB-DA9C-4CFA-B970-B8599B25F3E4}" type="datetime1">
              <a:rPr kumimoji="0" lang="fi-FI" sz="700" b="0" i="0" u="none" strike="noStrike" kern="1200" cap="none" spc="0" normalizeH="0" baseline="0" noProof="0" smtClean="0">
                <a:ln>
                  <a:noFill/>
                </a:ln>
                <a:solidFill>
                  <a:srgbClr val="29282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pPr marL="0" marR="0" lvl="0" indent="0" algn="l" defTabSz="6798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.4.2021</a:t>
            </a:fld>
            <a:endParaRPr kumimoji="0" lang="fi-FI" sz="700" b="0" i="0" u="none" strike="noStrike" kern="1200" cap="none" spc="0" normalizeH="0" baseline="0" noProof="0" dirty="0">
              <a:ln>
                <a:noFill/>
              </a:ln>
              <a:solidFill>
                <a:srgbClr val="29282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6798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700" b="0" i="0" u="none" strike="noStrike" kern="1200" cap="none" spc="0" normalizeH="0" baseline="0" noProof="0">
                <a:ln>
                  <a:noFill/>
                </a:ln>
                <a:solidFill>
                  <a:srgbClr val="29282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Teknologiateollisuus</a:t>
            </a:r>
            <a:endParaRPr kumimoji="0" lang="fi-FI" sz="700" b="0" i="0" u="none" strike="noStrike" kern="1200" cap="none" spc="0" normalizeH="0" baseline="0" noProof="0" dirty="0">
              <a:ln>
                <a:noFill/>
              </a:ln>
              <a:solidFill>
                <a:srgbClr val="29282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" name="Tekstin paikkamerkki 6"/>
          <p:cNvSpPr>
            <a:spLocks noGrp="1"/>
          </p:cNvSpPr>
          <p:nvPr>
            <p:ph type="body" sz="quarter" idx="18"/>
          </p:nvPr>
        </p:nvSpPr>
        <p:spPr>
          <a:xfrm>
            <a:off x="2334682" y="4727574"/>
            <a:ext cx="4634955" cy="165163"/>
          </a:xfrm>
        </p:spPr>
        <p:txBody>
          <a:bodyPr/>
          <a:lstStyle/>
          <a:p>
            <a:r>
              <a:rPr lang="fi-FI" dirty="0"/>
              <a:t>Lähde: Teknologiateollisuus ry:n tilauskantatiedustelun vastaajayritykset, </a:t>
            </a:r>
          </a:p>
          <a:p>
            <a:r>
              <a:rPr lang="fi-FI" dirty="0"/>
              <a:t>viimeisin tieto tammi-maaliskuu 2021.</a:t>
            </a:r>
          </a:p>
        </p:txBody>
      </p:sp>
      <p:graphicFrame>
        <p:nvGraphicFramePr>
          <p:cNvPr id="12" name="Object 5"/>
          <p:cNvGraphicFramePr>
            <a:graphicFrameLocks noGrp="1" noChangeAspect="1"/>
          </p:cNvGraphicFramePr>
          <p:nvPr>
            <p:ph sz="quarter" idx="17"/>
          </p:nvPr>
        </p:nvGraphicFramePr>
        <p:xfrm>
          <a:off x="107504" y="1016526"/>
          <a:ext cx="8856983" cy="30456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Text Box 7"/>
          <p:cNvSpPr txBox="1">
            <a:spLocks noChangeArrowheads="1"/>
          </p:cNvSpPr>
          <p:nvPr/>
        </p:nvSpPr>
        <p:spPr bwMode="auto">
          <a:xfrm>
            <a:off x="943147" y="1125043"/>
            <a:ext cx="2375726" cy="245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3381" tIns="41690" rIns="83381" bIns="41690">
            <a:spAutoFit/>
          </a:bodyPr>
          <a:lstStyle>
            <a:lvl1pPr defTabSz="827088">
              <a:defRPr>
                <a:solidFill>
                  <a:schemeClr val="tx1"/>
                </a:solidFill>
                <a:latin typeface="Arial" charset="0"/>
              </a:defRPr>
            </a:lvl1pPr>
            <a:lvl2pPr marL="414338" defTabSz="827088">
              <a:defRPr>
                <a:solidFill>
                  <a:schemeClr val="tx1"/>
                </a:solidFill>
                <a:latin typeface="Arial" charset="0"/>
              </a:defRPr>
            </a:lvl2pPr>
            <a:lvl3pPr marL="827088" defTabSz="827088">
              <a:defRPr>
                <a:solidFill>
                  <a:schemeClr val="tx1"/>
                </a:solidFill>
                <a:latin typeface="Arial" charset="0"/>
              </a:defRPr>
            </a:lvl3pPr>
            <a:lvl4pPr marL="1241425" defTabSz="827088">
              <a:defRPr>
                <a:solidFill>
                  <a:schemeClr val="tx1"/>
                </a:solidFill>
                <a:latin typeface="Arial" charset="0"/>
              </a:defRPr>
            </a:lvl4pPr>
            <a:lvl5pPr marL="1655763" defTabSz="827088">
              <a:defRPr>
                <a:solidFill>
                  <a:schemeClr val="tx1"/>
                </a:solidFill>
                <a:latin typeface="Arial" charset="0"/>
              </a:defRPr>
            </a:lvl5pPr>
            <a:lvl6pPr marL="2112963" defTabSz="8270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570163" defTabSz="8270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027363" defTabSz="8270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484563" defTabSz="8270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8270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50" b="0" i="0" u="none" strike="noStrike" kern="1200" cap="none" spc="0" normalizeH="0" baseline="0" noProof="0" dirty="0">
                <a:ln>
                  <a:noFill/>
                </a:ln>
                <a:solidFill>
                  <a:srgbClr val="29282E"/>
                </a:solidFill>
                <a:effectLst/>
                <a:uLnTx/>
                <a:uFillTx/>
                <a:latin typeface="Verdana"/>
                <a:ea typeface="ＭＳ Ｐゴシック" pitchFamily="34" charset="-128"/>
                <a:cs typeface="+mn-cs"/>
              </a:rPr>
              <a:t>Miljoonaa euroa, käyvin hinnoin </a:t>
            </a:r>
          </a:p>
        </p:txBody>
      </p:sp>
      <p:graphicFrame>
        <p:nvGraphicFramePr>
          <p:cNvPr id="25" name="Taulukko 2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2915990"/>
              </p:ext>
            </p:extLst>
          </p:nvPr>
        </p:nvGraphicFramePr>
        <p:xfrm>
          <a:off x="3438453" y="3934949"/>
          <a:ext cx="3767898" cy="803820"/>
        </p:xfrm>
        <a:graphic>
          <a:graphicData uri="http://schemas.openxmlformats.org/drawingml/2006/table">
            <a:tbl>
              <a:tblPr/>
              <a:tblGrid>
                <a:gridCol w="8638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784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2562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00955"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900" b="0" i="0" u="none" strike="noStrike" baseline="0" dirty="0" err="1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Muutos</a:t>
                      </a:r>
                      <a:r>
                        <a:rPr lang="en-GB" sz="900" b="0" i="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:</a:t>
                      </a:r>
                    </a:p>
                  </a:txBody>
                  <a:tcPr marL="15998" marR="15998" marT="15998" marB="15998" anchor="b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I,2021 / I,2020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I,2021 / IV,2020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0955"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900" u="none" strike="noStrike" baseline="0" dirty="0" err="1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Vientiin</a:t>
                      </a:r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: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+6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-31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0955"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900" u="none" strike="noStrike" baseline="0" dirty="0" err="1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Kotimaahan</a:t>
                      </a:r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: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+1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-26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0955"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900" u="none" strike="noStrike" baseline="0" dirty="0" err="1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Yhteensä</a:t>
                      </a:r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: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+5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-29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26" name="Text Box 10"/>
          <p:cNvSpPr txBox="1">
            <a:spLocks noChangeArrowheads="1"/>
          </p:cNvSpPr>
          <p:nvPr/>
        </p:nvSpPr>
        <p:spPr bwMode="auto">
          <a:xfrm>
            <a:off x="7255083" y="3953871"/>
            <a:ext cx="1521649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L="0" marR="0" lvl="0" indent="0" algn="l" defTabSz="8123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900" b="0" i="0" u="none" strike="noStrike" kern="1200" cap="none" spc="0" normalizeH="0" baseline="0" noProof="0" dirty="0">
                <a:ln>
                  <a:noFill/>
                </a:ln>
                <a:solidFill>
                  <a:srgbClr val="29282E"/>
                </a:solidFill>
                <a:effectLst/>
                <a:uLnTx/>
                <a:uFillTx/>
                <a:latin typeface="Verdana"/>
                <a:ea typeface="Arial Unicode MS"/>
                <a:cs typeface="+mn-cs"/>
              </a:rPr>
              <a:t>*) Pl. metallien jalostus, pelialan ohjelmistoyritykset ja datakeskukset </a:t>
            </a:r>
          </a:p>
        </p:txBody>
      </p:sp>
      <p:graphicFrame>
        <p:nvGraphicFramePr>
          <p:cNvPr id="14" name="Taulukko 13">
            <a:extLst>
              <a:ext uri="{FF2B5EF4-FFF2-40B4-BE49-F238E27FC236}">
                <a16:creationId xmlns:a16="http://schemas.microsoft.com/office/drawing/2014/main" id="{8AD21D0F-9B6A-4E23-A81A-E23C9B1E89C1}"/>
              </a:ext>
            </a:extLst>
          </p:cNvPr>
          <p:cNvGraphicFramePr>
            <a:graphicFrameLocks noGrp="1"/>
          </p:cNvGraphicFramePr>
          <p:nvPr/>
        </p:nvGraphicFramePr>
        <p:xfrm>
          <a:off x="827584" y="3673367"/>
          <a:ext cx="6984774" cy="280504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58281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8281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8281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8281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8281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58281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581318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581318">
                  <a:extLst>
                    <a:ext uri="{9D8B030D-6E8A-4147-A177-3AD203B41FA5}">
                      <a16:colId xmlns:a16="http://schemas.microsoft.com/office/drawing/2014/main" val="3822871466"/>
                    </a:ext>
                  </a:extLst>
                </a:gridCol>
                <a:gridCol w="581318">
                  <a:extLst>
                    <a:ext uri="{9D8B030D-6E8A-4147-A177-3AD203B41FA5}">
                      <a16:colId xmlns:a16="http://schemas.microsoft.com/office/drawing/2014/main" val="727455605"/>
                    </a:ext>
                  </a:extLst>
                </a:gridCol>
                <a:gridCol w="581318">
                  <a:extLst>
                    <a:ext uri="{9D8B030D-6E8A-4147-A177-3AD203B41FA5}">
                      <a16:colId xmlns:a16="http://schemas.microsoft.com/office/drawing/2014/main" val="134493250"/>
                    </a:ext>
                  </a:extLst>
                </a:gridCol>
                <a:gridCol w="581318">
                  <a:extLst>
                    <a:ext uri="{9D8B030D-6E8A-4147-A177-3AD203B41FA5}">
                      <a16:colId xmlns:a16="http://schemas.microsoft.com/office/drawing/2014/main" val="1761203323"/>
                    </a:ext>
                  </a:extLst>
                </a:gridCol>
                <a:gridCol w="581318">
                  <a:extLst>
                    <a:ext uri="{9D8B030D-6E8A-4147-A177-3AD203B41FA5}">
                      <a16:colId xmlns:a16="http://schemas.microsoft.com/office/drawing/2014/main" val="1605823485"/>
                    </a:ext>
                  </a:extLst>
                </a:gridCol>
              </a:tblGrid>
              <a:tr h="280504"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0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1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2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3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4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5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6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9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20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21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61487886"/>
      </p:ext>
    </p:extLst>
  </p:cSld>
  <p:clrMapOvr>
    <a:masterClrMapping/>
  </p:clrMapOvr>
  <p:transition spd="med"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/>
          <p:cNvSpPr>
            <a:spLocks noGrp="1"/>
          </p:cNvSpPr>
          <p:nvPr>
            <p:ph type="body" sz="quarter" idx="15"/>
          </p:nvPr>
        </p:nvSpPr>
        <p:spPr>
          <a:xfrm>
            <a:off x="252000" y="282150"/>
            <a:ext cx="8421552" cy="6480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fi-FI" dirty="0"/>
              <a:t>Kone- ja metallituoteteollisuuden uudet tilaukset Suomessa</a:t>
            </a:r>
          </a:p>
        </p:txBody>
      </p:sp>
      <p:sp>
        <p:nvSpPr>
          <p:cNvPr id="3" name="Dian numeron paikkamerkki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798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CB6B90-8271-4E8F-82C1-E646FBB48A2E}" type="slidenum">
              <a:rPr kumimoji="0" lang="fi-FI" sz="700" b="0" i="0" u="none" strike="noStrike" kern="1200" cap="none" spc="0" normalizeH="0" baseline="0" noProof="0" smtClean="0">
                <a:ln>
                  <a:noFill/>
                </a:ln>
                <a:solidFill>
                  <a:srgbClr val="29282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6798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fi-FI" sz="700" b="0" i="0" u="none" strike="noStrike" kern="1200" cap="none" spc="0" normalizeH="0" baseline="0" noProof="0" dirty="0">
              <a:ln>
                <a:noFill/>
              </a:ln>
              <a:solidFill>
                <a:srgbClr val="29282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6798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70C97DB-DA9C-4CFA-B970-B8599B25F3E4}" type="datetime1">
              <a:rPr kumimoji="0" lang="fi-FI" sz="700" b="0" i="0" u="none" strike="noStrike" kern="1200" cap="none" spc="0" normalizeH="0" baseline="0" noProof="0" smtClean="0">
                <a:ln>
                  <a:noFill/>
                </a:ln>
                <a:solidFill>
                  <a:srgbClr val="29282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pPr marL="0" marR="0" lvl="0" indent="0" algn="l" defTabSz="6798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.4.2021</a:t>
            </a:fld>
            <a:endParaRPr kumimoji="0" lang="fi-FI" sz="700" b="0" i="0" u="none" strike="noStrike" kern="1200" cap="none" spc="0" normalizeH="0" baseline="0" noProof="0" dirty="0">
              <a:ln>
                <a:noFill/>
              </a:ln>
              <a:solidFill>
                <a:srgbClr val="29282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6798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700" b="0" i="0" u="none" strike="noStrike" kern="1200" cap="none" spc="0" normalizeH="0" baseline="0" noProof="0">
                <a:ln>
                  <a:noFill/>
                </a:ln>
                <a:solidFill>
                  <a:srgbClr val="29282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Teknologiateollisuus</a:t>
            </a:r>
            <a:endParaRPr kumimoji="0" lang="fi-FI" sz="700" b="0" i="0" u="none" strike="noStrike" kern="1200" cap="none" spc="0" normalizeH="0" baseline="0" noProof="0" dirty="0">
              <a:ln>
                <a:noFill/>
              </a:ln>
              <a:solidFill>
                <a:srgbClr val="29282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" name="Tekstin paikkamerkki 6"/>
          <p:cNvSpPr>
            <a:spLocks noGrp="1"/>
          </p:cNvSpPr>
          <p:nvPr>
            <p:ph type="body" sz="quarter" idx="18"/>
          </p:nvPr>
        </p:nvSpPr>
        <p:spPr>
          <a:xfrm>
            <a:off x="2334682" y="4727574"/>
            <a:ext cx="4634955" cy="165163"/>
          </a:xfrm>
        </p:spPr>
        <p:txBody>
          <a:bodyPr/>
          <a:lstStyle/>
          <a:p>
            <a:r>
              <a:rPr lang="fi-FI" dirty="0"/>
              <a:t>Lähde: Teknologiateollisuus ry:n tilauskantatiedustelun vastaajayritykset, </a:t>
            </a:r>
          </a:p>
          <a:p>
            <a:r>
              <a:rPr lang="fi-FI" dirty="0"/>
              <a:t>viimeisin tieto tammi-maaliskuu 2021.</a:t>
            </a:r>
          </a:p>
        </p:txBody>
      </p:sp>
      <p:graphicFrame>
        <p:nvGraphicFramePr>
          <p:cNvPr id="12" name="Object 5"/>
          <p:cNvGraphicFramePr>
            <a:graphicFrameLocks noGrp="1" noChangeAspect="1"/>
          </p:cNvGraphicFramePr>
          <p:nvPr>
            <p:ph sz="quarter" idx="17"/>
          </p:nvPr>
        </p:nvGraphicFramePr>
        <p:xfrm>
          <a:off x="107504" y="1016526"/>
          <a:ext cx="8856983" cy="30456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Text Box 7"/>
          <p:cNvSpPr txBox="1">
            <a:spLocks noChangeArrowheads="1"/>
          </p:cNvSpPr>
          <p:nvPr/>
        </p:nvSpPr>
        <p:spPr bwMode="auto">
          <a:xfrm>
            <a:off x="943147" y="1125043"/>
            <a:ext cx="2375726" cy="245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3381" tIns="41690" rIns="83381" bIns="41690">
            <a:spAutoFit/>
          </a:bodyPr>
          <a:lstStyle>
            <a:lvl1pPr defTabSz="827088">
              <a:defRPr>
                <a:solidFill>
                  <a:schemeClr val="tx1"/>
                </a:solidFill>
                <a:latin typeface="Arial" charset="0"/>
              </a:defRPr>
            </a:lvl1pPr>
            <a:lvl2pPr marL="414338" defTabSz="827088">
              <a:defRPr>
                <a:solidFill>
                  <a:schemeClr val="tx1"/>
                </a:solidFill>
                <a:latin typeface="Arial" charset="0"/>
              </a:defRPr>
            </a:lvl2pPr>
            <a:lvl3pPr marL="827088" defTabSz="827088">
              <a:defRPr>
                <a:solidFill>
                  <a:schemeClr val="tx1"/>
                </a:solidFill>
                <a:latin typeface="Arial" charset="0"/>
              </a:defRPr>
            </a:lvl3pPr>
            <a:lvl4pPr marL="1241425" defTabSz="827088">
              <a:defRPr>
                <a:solidFill>
                  <a:schemeClr val="tx1"/>
                </a:solidFill>
                <a:latin typeface="Arial" charset="0"/>
              </a:defRPr>
            </a:lvl4pPr>
            <a:lvl5pPr marL="1655763" defTabSz="827088">
              <a:defRPr>
                <a:solidFill>
                  <a:schemeClr val="tx1"/>
                </a:solidFill>
                <a:latin typeface="Arial" charset="0"/>
              </a:defRPr>
            </a:lvl5pPr>
            <a:lvl6pPr marL="2112963" defTabSz="8270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570163" defTabSz="8270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027363" defTabSz="8270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484563" defTabSz="8270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8270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50" b="0" i="0" u="none" strike="noStrike" kern="1200" cap="none" spc="0" normalizeH="0" baseline="0" noProof="0" dirty="0">
                <a:ln>
                  <a:noFill/>
                </a:ln>
                <a:solidFill>
                  <a:srgbClr val="29282E"/>
                </a:solidFill>
                <a:effectLst/>
                <a:uLnTx/>
                <a:uFillTx/>
                <a:latin typeface="Verdana"/>
                <a:ea typeface="ＭＳ Ｐゴシック" pitchFamily="34" charset="-128"/>
                <a:cs typeface="+mn-cs"/>
              </a:rPr>
              <a:t>Miljoonaa euroa, käyvin hinnoin </a:t>
            </a:r>
          </a:p>
        </p:txBody>
      </p:sp>
      <p:graphicFrame>
        <p:nvGraphicFramePr>
          <p:cNvPr id="25" name="Taulukko 24"/>
          <p:cNvGraphicFramePr>
            <a:graphicFrameLocks noGrp="1"/>
          </p:cNvGraphicFramePr>
          <p:nvPr/>
        </p:nvGraphicFramePr>
        <p:xfrm>
          <a:off x="3438453" y="3934949"/>
          <a:ext cx="3767898" cy="803820"/>
        </p:xfrm>
        <a:graphic>
          <a:graphicData uri="http://schemas.openxmlformats.org/drawingml/2006/table">
            <a:tbl>
              <a:tblPr/>
              <a:tblGrid>
                <a:gridCol w="8638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784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2562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00955"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900" b="0" i="0" u="none" strike="noStrike" baseline="0" dirty="0" err="1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Muutos</a:t>
                      </a:r>
                      <a:r>
                        <a:rPr lang="en-GB" sz="900" b="0" i="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:</a:t>
                      </a:r>
                    </a:p>
                  </a:txBody>
                  <a:tcPr marL="15998" marR="15998" marT="15998" marB="15998" anchor="b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I,2021 / I,2020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I,2021 / IV,2020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0955"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900" u="none" strike="noStrike" baseline="0" dirty="0" err="1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Vientiin</a:t>
                      </a:r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: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+9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-4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0955"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900" u="none" strike="noStrike" baseline="0" dirty="0" err="1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Kotimaahan</a:t>
                      </a:r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: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-5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-46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0955"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900" u="none" strike="noStrike" baseline="0" dirty="0" err="1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Yhteensä</a:t>
                      </a:r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: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+5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-19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14" name="Taulukko 13">
            <a:extLst>
              <a:ext uri="{FF2B5EF4-FFF2-40B4-BE49-F238E27FC236}">
                <a16:creationId xmlns:a16="http://schemas.microsoft.com/office/drawing/2014/main" id="{8AD21D0F-9B6A-4E23-A81A-E23C9B1E89C1}"/>
              </a:ext>
            </a:extLst>
          </p:cNvPr>
          <p:cNvGraphicFramePr>
            <a:graphicFrameLocks noGrp="1"/>
          </p:cNvGraphicFramePr>
          <p:nvPr/>
        </p:nvGraphicFramePr>
        <p:xfrm>
          <a:off x="827584" y="3673367"/>
          <a:ext cx="6984774" cy="280504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58281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8281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8281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8281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8281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58281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581318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581318">
                  <a:extLst>
                    <a:ext uri="{9D8B030D-6E8A-4147-A177-3AD203B41FA5}">
                      <a16:colId xmlns:a16="http://schemas.microsoft.com/office/drawing/2014/main" val="3822871466"/>
                    </a:ext>
                  </a:extLst>
                </a:gridCol>
                <a:gridCol w="581318">
                  <a:extLst>
                    <a:ext uri="{9D8B030D-6E8A-4147-A177-3AD203B41FA5}">
                      <a16:colId xmlns:a16="http://schemas.microsoft.com/office/drawing/2014/main" val="727455605"/>
                    </a:ext>
                  </a:extLst>
                </a:gridCol>
                <a:gridCol w="581318">
                  <a:extLst>
                    <a:ext uri="{9D8B030D-6E8A-4147-A177-3AD203B41FA5}">
                      <a16:colId xmlns:a16="http://schemas.microsoft.com/office/drawing/2014/main" val="134493250"/>
                    </a:ext>
                  </a:extLst>
                </a:gridCol>
                <a:gridCol w="581318">
                  <a:extLst>
                    <a:ext uri="{9D8B030D-6E8A-4147-A177-3AD203B41FA5}">
                      <a16:colId xmlns:a16="http://schemas.microsoft.com/office/drawing/2014/main" val="1761203323"/>
                    </a:ext>
                  </a:extLst>
                </a:gridCol>
                <a:gridCol w="581318">
                  <a:extLst>
                    <a:ext uri="{9D8B030D-6E8A-4147-A177-3AD203B41FA5}">
                      <a16:colId xmlns:a16="http://schemas.microsoft.com/office/drawing/2014/main" val="1605823485"/>
                    </a:ext>
                  </a:extLst>
                </a:gridCol>
              </a:tblGrid>
              <a:tr h="280504"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0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1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2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3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4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5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6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9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20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21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05809879"/>
      </p:ext>
    </p:extLst>
  </p:cSld>
  <p:clrMapOvr>
    <a:masterClrMapping/>
  </p:clrMapOvr>
  <p:transition spd="med"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/>
          <p:cNvSpPr>
            <a:spLocks noGrp="1"/>
          </p:cNvSpPr>
          <p:nvPr>
            <p:ph type="body" sz="quarter" idx="15"/>
          </p:nvPr>
        </p:nvSpPr>
        <p:spPr>
          <a:xfrm>
            <a:off x="251520" y="37872"/>
            <a:ext cx="8640959" cy="648000"/>
          </a:xfrm>
        </p:spPr>
        <p:txBody>
          <a:bodyPr>
            <a:noAutofit/>
          </a:bodyPr>
          <a:lstStyle/>
          <a:p>
            <a:r>
              <a:rPr lang="fi-FI" sz="2000" dirty="0"/>
              <a:t>Teknologiateollisuuden henkilöstömäärä oli maaliskuun lopussa hieman viime vuoden keskiarvoa pienempi</a:t>
            </a:r>
          </a:p>
        </p:txBody>
      </p:sp>
      <p:sp>
        <p:nvSpPr>
          <p:cNvPr id="3" name="Dian numeron paikkamerkki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14</a:t>
            </a:fld>
            <a:endParaRPr lang="fi-FI" dirty="0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C97DB-DA9C-4CFA-B970-B8599B25F3E4}" type="datetime1">
              <a:rPr lang="fi-FI" smtClean="0"/>
              <a:t>28.4.2021</a:t>
            </a:fld>
            <a:endParaRPr lang="fi-FI" dirty="0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6"/>
          <p:cNvSpPr>
            <a:spLocks noGrp="1"/>
          </p:cNvSpPr>
          <p:nvPr>
            <p:ph type="body" sz="quarter" idx="18"/>
          </p:nvPr>
        </p:nvSpPr>
        <p:spPr>
          <a:xfrm>
            <a:off x="2334682" y="4727574"/>
            <a:ext cx="3533462" cy="165163"/>
          </a:xfrm>
        </p:spPr>
        <p:txBody>
          <a:bodyPr/>
          <a:lstStyle/>
          <a:p>
            <a:r>
              <a:rPr lang="fi-FI" dirty="0"/>
              <a:t>Lähde: Tilastokeskus, Teknologiateollisuus ry:n henkilöstötiedustelu</a:t>
            </a:r>
          </a:p>
        </p:txBody>
      </p:sp>
      <p:graphicFrame>
        <p:nvGraphicFramePr>
          <p:cNvPr id="8" name="Object 3"/>
          <p:cNvGraphicFramePr>
            <a:graphicFrameLocks noChangeAspect="1"/>
          </p:cNvGraphicFramePr>
          <p:nvPr/>
        </p:nvGraphicFramePr>
        <p:xfrm>
          <a:off x="395536" y="943123"/>
          <a:ext cx="8015459" cy="36448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Puhekupla: Suorakulmio, kulmat pyöristettu 8">
            <a:extLst>
              <a:ext uri="{FF2B5EF4-FFF2-40B4-BE49-F238E27FC236}">
                <a16:creationId xmlns:a16="http://schemas.microsoft.com/office/drawing/2014/main" id="{44425203-2A44-4D66-809C-7A80E3AC73E6}"/>
              </a:ext>
            </a:extLst>
          </p:cNvPr>
          <p:cNvSpPr/>
          <p:nvPr/>
        </p:nvSpPr>
        <p:spPr bwMode="auto">
          <a:xfrm>
            <a:off x="6757714" y="915566"/>
            <a:ext cx="2016224" cy="575191"/>
          </a:xfrm>
          <a:prstGeom prst="wedgeRoundRectCallout">
            <a:avLst>
              <a:gd name="adj1" fmla="val -1407"/>
              <a:gd name="adj2" fmla="val 90867"/>
              <a:gd name="adj3" fmla="val 16667"/>
            </a:avLst>
          </a:prstGeom>
          <a:solidFill>
            <a:schemeClr val="bg2">
              <a:lumMod val="85000"/>
            </a:schemeClr>
          </a:solidFill>
          <a:ln>
            <a:noFill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i-FI" sz="1050" dirty="0"/>
              <a:t>Henkilöstöstä noin 10 000 lomautusjärjestelyiden piirissä 31.3.2021</a:t>
            </a:r>
          </a:p>
        </p:txBody>
      </p:sp>
    </p:spTree>
    <p:extLst>
      <p:ext uri="{BB962C8B-B14F-4D97-AF65-F5344CB8AC3E}">
        <p14:creationId xmlns:p14="http://schemas.microsoft.com/office/powerpoint/2010/main" val="347492013"/>
      </p:ext>
    </p:extLst>
  </p:cSld>
  <p:clrMapOvr>
    <a:masterClrMapping/>
  </p:clrMapOvr>
  <p:transition spd="med"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/>
          <p:cNvSpPr>
            <a:spLocks noGrp="1"/>
          </p:cNvSpPr>
          <p:nvPr>
            <p:ph type="body" sz="quarter" idx="15"/>
          </p:nvPr>
        </p:nvSpPr>
        <p:spPr>
          <a:xfrm>
            <a:off x="252000" y="282150"/>
            <a:ext cx="7848392" cy="648000"/>
          </a:xfrm>
        </p:spPr>
        <p:txBody>
          <a:bodyPr/>
          <a:lstStyle/>
          <a:p>
            <a:r>
              <a:rPr lang="fi-FI" dirty="0"/>
              <a:t>Teknologiateollisuuden henkilöstömäärä Suomessa kääntyi kasvuun vuodenvaihteessa</a:t>
            </a:r>
          </a:p>
        </p:txBody>
      </p:sp>
      <p:sp>
        <p:nvSpPr>
          <p:cNvPr id="3" name="Dian numeron paikkamerkki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15</a:t>
            </a:fld>
            <a:endParaRPr lang="fi-FI" dirty="0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C97DB-DA9C-4CFA-B970-B8599B25F3E4}" type="datetime1">
              <a:rPr lang="fi-FI" smtClean="0"/>
              <a:t>28.4.2021</a:t>
            </a:fld>
            <a:endParaRPr lang="fi-FI" dirty="0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i-FI" dirty="0"/>
              <a:t>Lähde: Teknologiateollisuus ry:n henkilöstötiedustelu</a:t>
            </a:r>
          </a:p>
        </p:txBody>
      </p:sp>
      <p:graphicFrame>
        <p:nvGraphicFramePr>
          <p:cNvPr id="8" name="Sisällön paikkamerkki 7"/>
          <p:cNvGraphicFramePr>
            <a:graphicFrameLocks noGrp="1"/>
          </p:cNvGraphicFramePr>
          <p:nvPr>
            <p:ph idx="4294967295"/>
          </p:nvPr>
        </p:nvGraphicFramePr>
        <p:xfrm>
          <a:off x="252000" y="1131590"/>
          <a:ext cx="8496464" cy="34563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800762062"/>
      </p:ext>
    </p:extLst>
  </p:cSld>
  <p:clrMapOvr>
    <a:masterClrMapping/>
  </p:clrMapOvr>
  <p:transition spd="med"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>
            <a:extLst>
              <a:ext uri="{FF2B5EF4-FFF2-40B4-BE49-F238E27FC236}">
                <a16:creationId xmlns:a16="http://schemas.microsoft.com/office/drawing/2014/main" id="{BC206263-2FBC-4388-99DE-3677A24ED3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i-FI" dirty="0"/>
              <a:t>Yritysten odotukset vuodelle 2021 ovat edelleen parantuneet, mutta huolia riittää yhä</a:t>
            </a:r>
          </a:p>
        </p:txBody>
      </p:sp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D61B8DCF-DCB3-4984-9C5C-D8DA542BF8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16</a:t>
            </a:fld>
            <a:endParaRPr lang="fi-FI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897910E6-DA0A-49E1-A6D8-6F020C4812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C97DB-DA9C-4CFA-B970-B8599B25F3E4}" type="datetime1">
              <a:rPr lang="fi-FI" smtClean="0"/>
              <a:t>28.4.2021</a:t>
            </a:fld>
            <a:endParaRPr lang="fi-FI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2C3CBCE9-EAA9-46B0-8BF1-BE36DC2563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graphicFrame>
        <p:nvGraphicFramePr>
          <p:cNvPr id="10" name="Sisällön paikkamerkki 9">
            <a:extLst>
              <a:ext uri="{FF2B5EF4-FFF2-40B4-BE49-F238E27FC236}">
                <a16:creationId xmlns:a16="http://schemas.microsoft.com/office/drawing/2014/main" id="{18E8B046-CFAB-4548-870D-B60086FFDE2A}"/>
              </a:ext>
            </a:extLst>
          </p:cNvPr>
          <p:cNvGraphicFramePr>
            <a:graphicFrameLocks noGrp="1"/>
          </p:cNvGraphicFramePr>
          <p:nvPr>
            <p:ph sz="quarter" idx="17"/>
          </p:nvPr>
        </p:nvGraphicFramePr>
        <p:xfrm>
          <a:off x="381000" y="1103313"/>
          <a:ext cx="8391525" cy="3541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Tekstin paikkamerkki 6">
            <a:extLst>
              <a:ext uri="{FF2B5EF4-FFF2-40B4-BE49-F238E27FC236}">
                <a16:creationId xmlns:a16="http://schemas.microsoft.com/office/drawing/2014/main" id="{3687ADC7-98F5-412F-B49B-43449BFC94B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334681" y="4727574"/>
            <a:ext cx="4401919" cy="292448"/>
          </a:xfrm>
        </p:spPr>
        <p:txBody>
          <a:bodyPr/>
          <a:lstStyle/>
          <a:p>
            <a:r>
              <a:rPr lang="fi-FI" dirty="0"/>
              <a:t>Lähde: Teknologiateollisuus ry:n koronapulssi –jäsenkyselyt</a:t>
            </a:r>
          </a:p>
          <a:p>
            <a:r>
              <a:rPr lang="fi-FI" dirty="0"/>
              <a:t>23.10.2020 n=496, 7.12.2020 n=532, 4.2.2021 n=523, 29.4.2021 n=449.</a:t>
            </a:r>
          </a:p>
        </p:txBody>
      </p:sp>
      <p:sp>
        <p:nvSpPr>
          <p:cNvPr id="8" name="Tekstiruutu 7">
            <a:extLst>
              <a:ext uri="{FF2B5EF4-FFF2-40B4-BE49-F238E27FC236}">
                <a16:creationId xmlns:a16="http://schemas.microsoft.com/office/drawing/2014/main" id="{03A6E3B0-5FBD-4EC6-893B-FFB382725403}"/>
              </a:ext>
            </a:extLst>
          </p:cNvPr>
          <p:cNvSpPr txBox="1"/>
          <p:nvPr/>
        </p:nvSpPr>
        <p:spPr>
          <a:xfrm>
            <a:off x="935546" y="1391460"/>
            <a:ext cx="1435089" cy="23428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fi-FI" sz="1050" spc="-40" dirty="0"/>
              <a:t>Osuus yrityksistä, %</a:t>
            </a:r>
          </a:p>
        </p:txBody>
      </p:sp>
      <p:sp>
        <p:nvSpPr>
          <p:cNvPr id="6" name="Tekstiruutu 5">
            <a:extLst>
              <a:ext uri="{FF2B5EF4-FFF2-40B4-BE49-F238E27FC236}">
                <a16:creationId xmlns:a16="http://schemas.microsoft.com/office/drawing/2014/main" id="{646AD245-FECA-47F6-80C5-5E1051D27C98}"/>
              </a:ext>
            </a:extLst>
          </p:cNvPr>
          <p:cNvSpPr txBox="1"/>
          <p:nvPr/>
        </p:nvSpPr>
        <p:spPr>
          <a:xfrm>
            <a:off x="971600" y="973320"/>
            <a:ext cx="9001000" cy="28814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fi-FI" sz="1400" spc="-40" dirty="0"/>
              <a:t>Miten arvioitte yrityksenne liikevaihdon kehittyvän vuonna 2021 verrattuna vuoteen 2020?</a:t>
            </a:r>
            <a:endParaRPr lang="fi-FI" spc="-40" dirty="0"/>
          </a:p>
        </p:txBody>
      </p:sp>
    </p:spTree>
    <p:extLst>
      <p:ext uri="{BB962C8B-B14F-4D97-AF65-F5344CB8AC3E}">
        <p14:creationId xmlns:p14="http://schemas.microsoft.com/office/powerpoint/2010/main" val="2833165680"/>
      </p:ext>
    </p:extLst>
  </p:cSld>
  <p:clrMapOvr>
    <a:masterClrMapping/>
  </p:clrMapOvr>
  <p:transition spd="med"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>
            <a:extLst>
              <a:ext uri="{FF2B5EF4-FFF2-40B4-BE49-F238E27FC236}">
                <a16:creationId xmlns:a16="http://schemas.microsoft.com/office/drawing/2014/main" id="{6FA92EF3-6881-400B-A823-C1DF95ACB69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i-FI" dirty="0"/>
              <a:t>Suomen kustannuskilpailukyky uhkaa jälleen heiketä</a:t>
            </a:r>
          </a:p>
        </p:txBody>
      </p:sp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A49F23F3-A45B-49CC-A5FB-3CB7F1AD22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17</a:t>
            </a:fld>
            <a:endParaRPr lang="fi-FI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1C52879F-C085-4839-A496-E9A76FBF18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C97DB-DA9C-4CFA-B970-B8599B25F3E4}" type="datetime1">
              <a:rPr lang="fi-FI" smtClean="0"/>
              <a:t>28.4.2021</a:t>
            </a:fld>
            <a:endParaRPr lang="fi-FI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B6FF1E83-2B14-476C-A4A1-1D6ECB98F4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6" name="Sisällön paikkamerkki 5">
            <a:extLst>
              <a:ext uri="{FF2B5EF4-FFF2-40B4-BE49-F238E27FC236}">
                <a16:creationId xmlns:a16="http://schemas.microsoft.com/office/drawing/2014/main" id="{26680B02-E3ED-48E7-BF93-F964DC93B53B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dirty="0"/>
              <a:t>Ennen koronakriisiä Suomen kustannuskilpailukykytilanne: </a:t>
            </a:r>
            <a:r>
              <a:rPr lang="fi-FI" i="1" dirty="0"/>
              <a:t>”Talouden avoimen sektorin tuotannon ja työllisyyden kannalta kustannuskilpailukyvyn paraneminen edelleen hieman olisi perusteltua.” </a:t>
            </a:r>
            <a:r>
              <a:rPr lang="fi-FI" dirty="0"/>
              <a:t>– Suomen Pankki</a:t>
            </a:r>
          </a:p>
          <a:p>
            <a:pPr marL="757082" lvl="1" indent="-285750">
              <a:buFont typeface="Arial" panose="020B0604020202020204" pitchFamily="34" charset="0"/>
              <a:buChar char="•"/>
            </a:pPr>
            <a:r>
              <a:rPr lang="fi-FI" dirty="0"/>
              <a:t>Tammikuun 2020 TES päänavauksen jälkeen: </a:t>
            </a:r>
            <a:r>
              <a:rPr lang="fi-FI" i="1" dirty="0"/>
              <a:t>”Kustannuskilpailukyky näyttäisi voivan pysyä ennallaan.” </a:t>
            </a:r>
            <a:r>
              <a:rPr lang="fi-FI" dirty="0"/>
              <a:t>– Suomen Pankki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dirty="0"/>
              <a:t>Koronakriisin myötä emme itseasiassa tiedä järin täsmällisesti kustannuskilpailukyvyn tilannetta tällä hetkellä.</a:t>
            </a:r>
          </a:p>
          <a:p>
            <a:pPr marL="757082" lvl="1" indent="-285750">
              <a:buFont typeface="Arial" panose="020B0604020202020204" pitchFamily="34" charset="0"/>
              <a:buChar char="•"/>
            </a:pPr>
            <a:r>
              <a:rPr lang="fi-FI" dirty="0"/>
              <a:t>Mittarit toimivat huonosti poikkeustilanteessa (tuottavuuden raju heilahtelu, erilaiset tavat tukea yrityksiä/ihmisiä vajaatyöllisyystilanteessa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dirty="0"/>
              <a:t>Asiantuntija-arvioiden mukaan Suomen kustannuskilpailukyky heikkenee tänä ja ensi vuonna tai ainakin on ilmeinen riski, että näin käy.</a:t>
            </a:r>
          </a:p>
          <a:p>
            <a:pPr marL="757082" lvl="1" indent="-285750">
              <a:buFont typeface="Arial" panose="020B0604020202020204" pitchFamily="34" charset="0"/>
              <a:buChar char="•"/>
            </a:pPr>
            <a:r>
              <a:rPr lang="fi-FI" dirty="0"/>
              <a:t>SP 28.1.2021: </a:t>
            </a:r>
            <a:r>
              <a:rPr lang="fi-FI" i="1" dirty="0"/>
              <a:t>”Koronakriisiin liittyy riski Suomen kustannuskilpailukyvyn heikkenemisestä”.</a:t>
            </a:r>
          </a:p>
          <a:p>
            <a:pPr marL="757082" lvl="1" indent="-285750">
              <a:buFont typeface="Arial" panose="020B0604020202020204" pitchFamily="34" charset="0"/>
              <a:buChar char="•"/>
            </a:pPr>
            <a:r>
              <a:rPr lang="fi-FI" dirty="0"/>
              <a:t>ETLA 8.3.2021: </a:t>
            </a:r>
            <a:r>
              <a:rPr lang="fi-FI" i="1" dirty="0"/>
              <a:t>”Suomen kustannuskilpailukyky heikkenee selvästi tänä ja ensi vuonna”.</a:t>
            </a:r>
          </a:p>
        </p:txBody>
      </p:sp>
      <p:sp>
        <p:nvSpPr>
          <p:cNvPr id="7" name="Tekstin paikkamerkki 6">
            <a:extLst>
              <a:ext uri="{FF2B5EF4-FFF2-40B4-BE49-F238E27FC236}">
                <a16:creationId xmlns:a16="http://schemas.microsoft.com/office/drawing/2014/main" id="{9C60DAEF-49E2-4D93-9CBF-2B1445F3C96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858822830"/>
      </p:ext>
    </p:extLst>
  </p:cSld>
  <p:clrMapOvr>
    <a:masterClrMapping/>
  </p:clrMapOvr>
  <p:transition spd="med"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>
            <a:extLst>
              <a:ext uri="{FF2B5EF4-FFF2-40B4-BE49-F238E27FC236}">
                <a16:creationId xmlns:a16="http://schemas.microsoft.com/office/drawing/2014/main" id="{B1EEA068-123C-4013-B1BB-62E35EE52D7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i-FI" dirty="0"/>
              <a:t>Yhteenveto teknologiateollisuuden tilanteesta</a:t>
            </a:r>
          </a:p>
        </p:txBody>
      </p:sp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1D8F70A0-36D3-4221-BBF8-ACBFA7903F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18</a:t>
            </a:fld>
            <a:endParaRPr lang="fi-FI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87E1D219-EF19-43BE-A264-915D60C239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C97DB-DA9C-4CFA-B970-B8599B25F3E4}" type="datetime1">
              <a:rPr lang="fi-FI" smtClean="0"/>
              <a:t>28.4.2021</a:t>
            </a:fld>
            <a:endParaRPr lang="fi-FI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84DFD2AD-AFC5-4975-8D04-12C391F42D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6" name="Sisällön paikkamerkki 5">
            <a:extLst>
              <a:ext uri="{FF2B5EF4-FFF2-40B4-BE49-F238E27FC236}">
                <a16:creationId xmlns:a16="http://schemas.microsoft.com/office/drawing/2014/main" id="{438E4283-469C-4E61-9967-BB1E108BD8A6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76237" y="886427"/>
            <a:ext cx="8391525" cy="3740000"/>
          </a:xfrm>
        </p:spPr>
        <p:txBody>
          <a:bodyPr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sz="1300" dirty="0"/>
              <a:t>Teknologiateollisuudessa hyvä vire jatkui alkuvuonna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sz="1300" dirty="0"/>
              <a:t>Uudet tilaukset putosivat Q1/2021 selvästi edellisestä neljänneksestä, mutta olivat korkeammalla tasolla kuin vuotta aikaisemmin.</a:t>
            </a:r>
          </a:p>
          <a:p>
            <a:pPr marL="757082" lvl="1" indent="-285750">
              <a:buFont typeface="Arial" panose="020B0604020202020204" pitchFamily="34" charset="0"/>
              <a:buChar char="•"/>
            </a:pPr>
            <a:r>
              <a:rPr lang="fi-FI" sz="1050" dirty="0"/>
              <a:t>Pudotus uusissa tilauksissa edelliseen neljännekseen nähden ei merkitse käännettä huonompaa. Vertailukaudelle ajoittui poikkeuksellisen suuri tilauskertymä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sz="1300" dirty="0"/>
              <a:t>Yritysten arvioit nykytilasta ja lähiajan näkymistä jatkoivat edelleen kirkastumistaa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sz="1300" dirty="0"/>
              <a:t>Kyse ei kuitenkaan ole vielä radikaalista käänteestä parempaan pidemmässä juoksussa vaan pikemminkin paluusta koronaa edeltävälle tasolle niin tilauksissa kuin tuotannossa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sz="1300" dirty="0"/>
              <a:t>Koko vuotta 2021 koskevat arviot ovat myös jatkaneet piristymistään, mutta edelleen suurella joukolla yrityksiä epävarmuutta pidemmän aikavälin näkymistä.</a:t>
            </a:r>
            <a:endParaRPr lang="fi-FI" sz="1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sz="1300" dirty="0"/>
              <a:t>Koronariskiä ei voi edelleenkään poissulkea.</a:t>
            </a:r>
            <a:endParaRPr lang="fi-FI" sz="1000" dirty="0">
              <a:sym typeface="Wingdings" panose="05000000000000000000" pitchFamily="2" charset="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sz="1300" dirty="0"/>
              <a:t>Kustannuskilpailukyvyn suhteen ei ole varaa virheisiin.</a:t>
            </a:r>
          </a:p>
        </p:txBody>
      </p:sp>
      <p:sp>
        <p:nvSpPr>
          <p:cNvPr id="7" name="Tekstin paikkamerkki 6">
            <a:extLst>
              <a:ext uri="{FF2B5EF4-FFF2-40B4-BE49-F238E27FC236}">
                <a16:creationId xmlns:a16="http://schemas.microsoft.com/office/drawing/2014/main" id="{1DC11B62-82CC-4782-8C0B-21C0007614F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970922604"/>
      </p:ext>
    </p:extLst>
  </p:cSld>
  <p:clrMapOvr>
    <a:masterClrMapping/>
  </p:clrMapOvr>
  <p:transition spd="med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>
            <a:extLst>
              <a:ext uri="{FF2B5EF4-FFF2-40B4-BE49-F238E27FC236}">
                <a16:creationId xmlns:a16="http://schemas.microsoft.com/office/drawing/2014/main" id="{25165083-82DB-4E44-8B62-0436D46FE3C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31646" y="339502"/>
            <a:ext cx="7440754" cy="4388545"/>
          </a:xfrm>
        </p:spPr>
        <p:txBody>
          <a:bodyPr/>
          <a:lstStyle/>
          <a:p>
            <a:r>
              <a:rPr lang="fi-FI" dirty="0"/>
              <a:t>Hyvä vire teollisuudessa jatkunut alkuvuonna meillä ja maailmalla. Myös palvelualoilla merkkejä paremmasta.</a:t>
            </a:r>
          </a:p>
          <a:p>
            <a:endParaRPr lang="fi-FI" dirty="0"/>
          </a:p>
          <a:p>
            <a:endParaRPr lang="fi-FI" dirty="0"/>
          </a:p>
          <a:p>
            <a:pPr marL="353700" indent="-342900">
              <a:buFont typeface="Arial" panose="020B0604020202020204" pitchFamily="34" charset="0"/>
              <a:buChar char="•"/>
            </a:pPr>
            <a:r>
              <a:rPr lang="fi-FI" sz="1800" dirty="0"/>
              <a:t>Ongelmia välituotteiden, raaka-aineiden, komponenttien ja logistiikan saatavuudessa.</a:t>
            </a:r>
          </a:p>
          <a:p>
            <a:pPr marL="353700" indent="-342900">
              <a:buFont typeface="Arial" panose="020B0604020202020204" pitchFamily="34" charset="0"/>
              <a:buChar char="•"/>
            </a:pPr>
            <a:endParaRPr lang="fi-FI" sz="1800" dirty="0"/>
          </a:p>
          <a:p>
            <a:pPr marL="353700" indent="-342900">
              <a:buFont typeface="Arial" panose="020B0604020202020204" pitchFamily="34" charset="0"/>
              <a:buChar char="•"/>
            </a:pPr>
            <a:r>
              <a:rPr lang="fi-FI" sz="1800" dirty="0"/>
              <a:t>On vielä epäselvää missä määrin kyse koronakuopan umpeen kuromisesta ja missä määrin pysyvästä ja kestävästä kysynnän paranemisesta.</a:t>
            </a:r>
          </a:p>
        </p:txBody>
      </p:sp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829D7C96-6092-444C-B8F9-982503A61A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2</a:t>
            </a:fld>
            <a:endParaRPr lang="fi-FI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52F7CDC9-FE49-461B-8232-A859BAC787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5A29F8-3631-43D8-937B-CB2D984A1FF3}" type="datetime1">
              <a:rPr lang="fi-FI" smtClean="0"/>
              <a:t>28.4.2021</a:t>
            </a:fld>
            <a:endParaRPr lang="fi-FI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2CA72096-0DE0-44E3-9830-9DCC211505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272776827"/>
      </p:ext>
    </p:extLst>
  </p:cSld>
  <p:clrMapOvr>
    <a:masterClrMapping/>
  </p:clrMapOvr>
  <p:transition spd="med"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>
            <a:extLst>
              <a:ext uri="{FF2B5EF4-FFF2-40B4-BE49-F238E27FC236}">
                <a16:creationId xmlns:a16="http://schemas.microsoft.com/office/drawing/2014/main" id="{1EA16522-6D7C-4EC7-AF1E-1A8A6FD7091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39265" y="218072"/>
            <a:ext cx="8202913" cy="903272"/>
          </a:xfrm>
        </p:spPr>
        <p:txBody>
          <a:bodyPr>
            <a:normAutofit/>
          </a:bodyPr>
          <a:lstStyle/>
          <a:p>
            <a:pPr marL="10800"/>
            <a:r>
              <a:rPr lang="fi-FI" dirty="0"/>
              <a:t>Euroopan taloudessa käännyttiin kasvuun maalis-huhtikuussa</a:t>
            </a:r>
          </a:p>
        </p:txBody>
      </p:sp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FADE0556-1A8B-4E29-A14B-AD5682B3E7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3</a:t>
            </a:fld>
            <a:endParaRPr lang="fi-FI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84EE05AB-047C-4A5A-B3B0-A239B502E6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C97DB-DA9C-4CFA-B970-B8599B25F3E4}" type="datetime1">
              <a:rPr lang="fi-FI" smtClean="0"/>
              <a:t>28.4.2021</a:t>
            </a:fld>
            <a:endParaRPr lang="fi-FI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A561BEF1-334D-435F-972D-18DA62231D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6">
            <a:extLst>
              <a:ext uri="{FF2B5EF4-FFF2-40B4-BE49-F238E27FC236}">
                <a16:creationId xmlns:a16="http://schemas.microsoft.com/office/drawing/2014/main" id="{E5D8414E-05B2-45E8-B1A5-433C94DBAC8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334682" y="4727574"/>
            <a:ext cx="4401919" cy="292448"/>
          </a:xfrm>
        </p:spPr>
        <p:txBody>
          <a:bodyPr/>
          <a:lstStyle/>
          <a:p>
            <a:r>
              <a:rPr lang="fi-FI" dirty="0"/>
              <a:t>Lähde: IHS Markit, Eurostat</a:t>
            </a:r>
          </a:p>
          <a:p>
            <a:r>
              <a:rPr lang="fi-FI" dirty="0"/>
              <a:t>Viimeisin tieto huhtikuu 2021</a:t>
            </a:r>
          </a:p>
        </p:txBody>
      </p:sp>
      <p:sp>
        <p:nvSpPr>
          <p:cNvPr id="6" name="Tekstiruutu 5">
            <a:extLst>
              <a:ext uri="{FF2B5EF4-FFF2-40B4-BE49-F238E27FC236}">
                <a16:creationId xmlns:a16="http://schemas.microsoft.com/office/drawing/2014/main" id="{363381DA-856B-4FE0-88EC-1D58A808626C}"/>
              </a:ext>
            </a:extLst>
          </p:cNvPr>
          <p:cNvSpPr txBox="1"/>
          <p:nvPr/>
        </p:nvSpPr>
        <p:spPr>
          <a:xfrm>
            <a:off x="827584" y="1068841"/>
            <a:ext cx="7026277" cy="44049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fi-FI" spc="-40" dirty="0"/>
              <a:t>Euroalueen teollisuuden ja palveluiden ostopäällikköindeksi</a:t>
            </a:r>
          </a:p>
          <a:p>
            <a:pPr algn="ctr"/>
            <a:r>
              <a:rPr lang="fi-FI" sz="1050" dirty="0"/>
              <a:t>50 = ei muutosta edellisestä kuukaudesta. Yli 50 = kasvua, alle 50 = talous supistuu</a:t>
            </a:r>
          </a:p>
        </p:txBody>
      </p:sp>
      <p:pic>
        <p:nvPicPr>
          <p:cNvPr id="12" name="Kuva 11">
            <a:extLst>
              <a:ext uri="{FF2B5EF4-FFF2-40B4-BE49-F238E27FC236}">
                <a16:creationId xmlns:a16="http://schemas.microsoft.com/office/drawing/2014/main" id="{7D501E70-F242-4AD9-91F8-56C1178E040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95680" y="1491678"/>
            <a:ext cx="5279921" cy="3235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5875025"/>
      </p:ext>
    </p:extLst>
  </p:cSld>
  <p:clrMapOvr>
    <a:masterClrMapping/>
  </p:clrMapOvr>
  <p:transition spd="med"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03BBF1FD-9DE0-41D6-BE9F-50764DBBC1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4</a:t>
            </a:fld>
            <a:endParaRPr lang="fi-FI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3173C5A0-0E27-4167-9C0B-B2000126CA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C97DB-DA9C-4CFA-B970-B8599B25F3E4}" type="datetime1">
              <a:rPr lang="fi-FI" smtClean="0"/>
              <a:t>28.4.2021</a:t>
            </a:fld>
            <a:endParaRPr lang="fi-FI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9B74EA60-A953-4FE4-853C-7A9957BAC7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6">
            <a:extLst>
              <a:ext uri="{FF2B5EF4-FFF2-40B4-BE49-F238E27FC236}">
                <a16:creationId xmlns:a16="http://schemas.microsoft.com/office/drawing/2014/main" id="{3733E520-6A08-4E9C-973B-B665E50E18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i-FI" dirty="0"/>
              <a:t>Lähde: Eurostat, </a:t>
            </a:r>
            <a:r>
              <a:rPr lang="fi-FI" dirty="0" err="1"/>
              <a:t>Macrobond</a:t>
            </a:r>
            <a:endParaRPr lang="fi-FI" dirty="0"/>
          </a:p>
        </p:txBody>
      </p:sp>
      <p:graphicFrame>
        <p:nvGraphicFramePr>
          <p:cNvPr id="9" name="Sisällön paikkamerkki 8">
            <a:extLst>
              <a:ext uri="{FF2B5EF4-FFF2-40B4-BE49-F238E27FC236}">
                <a16:creationId xmlns:a16="http://schemas.microsoft.com/office/drawing/2014/main" id="{77D08159-59A8-4D26-8835-EADDC01FB2C4}"/>
              </a:ext>
            </a:extLst>
          </p:cNvPr>
          <p:cNvGraphicFramePr>
            <a:graphicFrameLocks noGrp="1" noChangeAspect="1"/>
          </p:cNvGraphicFramePr>
          <p:nvPr>
            <p:ph sz="quarter" idx="17"/>
            <p:extLst>
              <p:ext uri="{D42A27DB-BD31-4B8C-83A1-F6EECF244321}">
                <p14:modId xmlns:p14="http://schemas.microsoft.com/office/powerpoint/2010/main" val="1854164488"/>
              </p:ext>
            </p:extLst>
          </p:nvPr>
        </p:nvGraphicFramePr>
        <p:xfrm>
          <a:off x="383718" y="1103313"/>
          <a:ext cx="8386088" cy="35417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3" imgW="13193184" imgH="5572640" progId="Mbnd.mbnd">
                  <p:embed/>
                </p:oleObj>
              </mc:Choice>
              <mc:Fallback>
                <p:oleObj name="Macrobond document" r:id="rId3" imgW="13193184" imgH="5572640" progId="Mbnd.mbnd">
                  <p:embed/>
                  <p:pic>
                    <p:nvPicPr>
                      <p:cNvPr id="9" name="Sisällön paikkamerkki 8">
                        <a:extLst>
                          <a:ext uri="{FF2B5EF4-FFF2-40B4-BE49-F238E27FC236}">
                            <a16:creationId xmlns:a16="http://schemas.microsoft.com/office/drawing/2014/main" id="{77D08159-59A8-4D26-8835-EADDC01FB2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83718" y="1103313"/>
                        <a:ext cx="8386088" cy="35417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kstiruutu 5">
            <a:extLst>
              <a:ext uri="{FF2B5EF4-FFF2-40B4-BE49-F238E27FC236}">
                <a16:creationId xmlns:a16="http://schemas.microsoft.com/office/drawing/2014/main" id="{ACB64D57-2C65-4115-B822-B4E241BFDD56}"/>
              </a:ext>
            </a:extLst>
          </p:cNvPr>
          <p:cNvSpPr txBox="1"/>
          <p:nvPr/>
        </p:nvSpPr>
        <p:spPr>
          <a:xfrm>
            <a:off x="781007" y="940812"/>
            <a:ext cx="4525392" cy="2419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fi-FI" sz="1050" spc="-40" dirty="0"/>
              <a:t>Teollisuustuotannon volyymi-indeksi </a:t>
            </a:r>
          </a:p>
        </p:txBody>
      </p:sp>
      <p:sp>
        <p:nvSpPr>
          <p:cNvPr id="10" name="Tekstin paikkamerkki 9">
            <a:extLst>
              <a:ext uri="{FF2B5EF4-FFF2-40B4-BE49-F238E27FC236}">
                <a16:creationId xmlns:a16="http://schemas.microsoft.com/office/drawing/2014/main" id="{791C78E0-00E0-43A3-BD0C-8AECB56CA32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i-FI" dirty="0"/>
              <a:t>Teollisuustuotanto toipunut maailmalla koronaa edeltävälle tasolle</a:t>
            </a:r>
          </a:p>
        </p:txBody>
      </p:sp>
    </p:spTree>
    <p:extLst>
      <p:ext uri="{BB962C8B-B14F-4D97-AF65-F5344CB8AC3E}">
        <p14:creationId xmlns:p14="http://schemas.microsoft.com/office/powerpoint/2010/main" val="3588709971"/>
      </p:ext>
    </p:extLst>
  </p:cSld>
  <p:clrMapOvr>
    <a:masterClrMapping/>
  </p:clrMapOvr>
  <p:transition spd="med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ian numeron paikkamerkki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5</a:t>
            </a:fld>
            <a:endParaRPr lang="fi-FI" dirty="0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A50D0A-99B9-48FE-8B08-047EE10ADBDA}" type="datetime1">
              <a:rPr lang="fi-FI" smtClean="0"/>
              <a:t>28.4.2021</a:t>
            </a:fld>
            <a:endParaRPr lang="fi-FI" dirty="0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8" name="Tekstin paikkamerkki 7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i-FI" dirty="0"/>
              <a:t>Lähde: IMF huhtikuu 2021 </a:t>
            </a:r>
          </a:p>
        </p:txBody>
      </p:sp>
      <p:sp>
        <p:nvSpPr>
          <p:cNvPr id="10" name="Tekstin paikkamerkki 7"/>
          <p:cNvSpPr>
            <a:spLocks noGrp="1"/>
          </p:cNvSpPr>
          <p:nvPr>
            <p:ph type="body" sz="quarter" idx="15"/>
          </p:nvPr>
        </p:nvSpPr>
        <p:spPr>
          <a:xfrm>
            <a:off x="252000" y="282149"/>
            <a:ext cx="7992000" cy="932381"/>
          </a:xfrm>
        </p:spPr>
        <p:txBody>
          <a:bodyPr/>
          <a:lstStyle/>
          <a:p>
            <a:r>
              <a:rPr lang="fi-FI" dirty="0"/>
              <a:t>Maailmantalouden ennustetaan kasvavan 6 % vuonna 2021, kun se supistui 3,3 % vuonna 2020 </a:t>
            </a:r>
          </a:p>
        </p:txBody>
      </p:sp>
      <p:graphicFrame>
        <p:nvGraphicFramePr>
          <p:cNvPr id="200" name="Object 5"/>
          <p:cNvGraphicFramePr>
            <a:graphicFrameLocks noGrp="1" noChangeAspect="1"/>
          </p:cNvGraphicFramePr>
          <p:nvPr>
            <p:ph sz="quarter" idx="17"/>
            <p:extLst>
              <p:ext uri="{D42A27DB-BD31-4B8C-83A1-F6EECF244321}">
                <p14:modId xmlns:p14="http://schemas.microsoft.com/office/powerpoint/2010/main" val="2595051711"/>
              </p:ext>
            </p:extLst>
          </p:nvPr>
        </p:nvGraphicFramePr>
        <p:xfrm>
          <a:off x="381000" y="1103313"/>
          <a:ext cx="8391525" cy="3541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01" name="Rectangle 18"/>
          <p:cNvSpPr>
            <a:spLocks noChangeArrowheads="1"/>
          </p:cNvSpPr>
          <p:nvPr/>
        </p:nvSpPr>
        <p:spPr bwMode="auto">
          <a:xfrm flipV="1">
            <a:off x="845463" y="2824872"/>
            <a:ext cx="1272263" cy="1496503"/>
          </a:xfrm>
          <a:prstGeom prst="rect">
            <a:avLst/>
          </a:prstGeom>
          <a:solidFill>
            <a:schemeClr val="accent5"/>
          </a:solidFill>
          <a:ln w="9525">
            <a:solidFill>
              <a:srgbClr val="29282E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defTabSz="9140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14" b="0" i="0" u="none" strike="noStrike" kern="0" cap="none" spc="0" normalizeH="0" baseline="0" noProof="0">
              <a:ln>
                <a:noFill/>
              </a:ln>
              <a:solidFill>
                <a:srgbClr val="002664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02" name="Rectangle 19"/>
          <p:cNvSpPr>
            <a:spLocks noChangeArrowheads="1"/>
          </p:cNvSpPr>
          <p:nvPr/>
        </p:nvSpPr>
        <p:spPr bwMode="auto">
          <a:xfrm flipV="1">
            <a:off x="2117725" y="3263769"/>
            <a:ext cx="1194331" cy="1057600"/>
          </a:xfrm>
          <a:prstGeom prst="rect">
            <a:avLst/>
          </a:prstGeom>
          <a:solidFill>
            <a:schemeClr val="tx2"/>
          </a:solidFill>
          <a:ln w="9525">
            <a:solidFill>
              <a:srgbClr val="29282E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defTabSz="9140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14" b="0" i="0" u="none" strike="noStrike" kern="0" cap="none" spc="0" normalizeH="0" baseline="0" noProof="0">
              <a:ln>
                <a:noFill/>
              </a:ln>
              <a:solidFill>
                <a:srgbClr val="002664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03" name="Rectangle 20"/>
          <p:cNvSpPr>
            <a:spLocks noChangeArrowheads="1"/>
          </p:cNvSpPr>
          <p:nvPr/>
        </p:nvSpPr>
        <p:spPr bwMode="auto">
          <a:xfrm>
            <a:off x="3820540" y="3539625"/>
            <a:ext cx="303457" cy="772356"/>
          </a:xfrm>
          <a:prstGeom prst="rect">
            <a:avLst/>
          </a:prstGeom>
          <a:solidFill>
            <a:srgbClr val="FFC000"/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defTabSz="9140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14" b="0" i="0" u="none" strike="noStrike" kern="0" cap="none" spc="0" normalizeH="0" baseline="0" noProof="0">
              <a:ln>
                <a:noFill/>
              </a:ln>
              <a:solidFill>
                <a:srgbClr val="002664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04" name="Rectangle 21"/>
          <p:cNvSpPr>
            <a:spLocks noChangeArrowheads="1"/>
          </p:cNvSpPr>
          <p:nvPr/>
        </p:nvSpPr>
        <p:spPr bwMode="auto">
          <a:xfrm>
            <a:off x="4111996" y="2362161"/>
            <a:ext cx="1401813" cy="195921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rgbClr val="29282E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defTabSz="9140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14" b="0" i="0" u="none" strike="noStrike" kern="0" cap="none" spc="0" normalizeH="0" baseline="0" noProof="0">
              <a:ln>
                <a:noFill/>
              </a:ln>
              <a:solidFill>
                <a:srgbClr val="002664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05" name="Text Box 22"/>
          <p:cNvSpPr txBox="1">
            <a:spLocks noChangeArrowheads="1"/>
          </p:cNvSpPr>
          <p:nvPr/>
        </p:nvSpPr>
        <p:spPr bwMode="auto">
          <a:xfrm>
            <a:off x="919909" y="3545249"/>
            <a:ext cx="1093530" cy="215444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1pPr>
            <a:lvl2pPr marL="742950" indent="-28575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2pPr>
            <a:lvl3pPr marL="11430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3pPr>
            <a:lvl4pPr marL="16002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4pPr>
            <a:lvl5pPr marL="20574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9pPr>
          </a:lstStyle>
          <a:p>
            <a:pPr marL="0" marR="0" lvl="0" indent="0" algn="ctr" defTabSz="9140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8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ＭＳ Ｐゴシック" pitchFamily="-128" charset="-128"/>
              </a:rPr>
              <a:t>Pohjois-Amerikka</a:t>
            </a:r>
          </a:p>
        </p:txBody>
      </p:sp>
      <p:sp>
        <p:nvSpPr>
          <p:cNvPr id="206" name="Text Box 23"/>
          <p:cNvSpPr txBox="1">
            <a:spLocks noChangeArrowheads="1"/>
          </p:cNvSpPr>
          <p:nvPr/>
        </p:nvSpPr>
        <p:spPr bwMode="auto">
          <a:xfrm>
            <a:off x="2242242" y="3659636"/>
            <a:ext cx="984096" cy="21544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wrap="square">
            <a:spAutoFit/>
          </a:bodyPr>
          <a:lstStyle>
            <a:lvl1pPr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1pPr>
            <a:lvl2pPr marL="742950" indent="-28575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2pPr>
            <a:lvl3pPr marL="11430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3pPr>
            <a:lvl4pPr marL="16002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4pPr>
            <a:lvl5pPr marL="20574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9pPr>
          </a:lstStyle>
          <a:p>
            <a:pPr marL="0" marR="0" lvl="0" indent="0" algn="ctr" defTabSz="9140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80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ＭＳ Ｐゴシック" pitchFamily="-128" charset="-128"/>
              </a:rPr>
              <a:t>Länsi-Eurooppa</a:t>
            </a:r>
          </a:p>
        </p:txBody>
      </p:sp>
      <p:sp>
        <p:nvSpPr>
          <p:cNvPr id="207" name="Text Box 24"/>
          <p:cNvSpPr txBox="1">
            <a:spLocks noChangeArrowheads="1"/>
          </p:cNvSpPr>
          <p:nvPr/>
        </p:nvSpPr>
        <p:spPr bwMode="auto">
          <a:xfrm rot="16200000">
            <a:off x="3647587" y="3697040"/>
            <a:ext cx="68194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1pPr>
            <a:lvl2pPr marL="742950" indent="-28575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2pPr>
            <a:lvl3pPr marL="11430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3pPr>
            <a:lvl4pPr marL="16002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4pPr>
            <a:lvl5pPr marL="20574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9pPr>
          </a:lstStyle>
          <a:p>
            <a:pPr marL="0" marR="0" lvl="0" indent="0" defTabSz="9140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8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ＭＳ Ｐゴシック" pitchFamily="-128" charset="-128"/>
              </a:rPr>
              <a:t>Japani </a:t>
            </a:r>
          </a:p>
        </p:txBody>
      </p:sp>
      <p:sp>
        <p:nvSpPr>
          <p:cNvPr id="208" name="Text Box 25"/>
          <p:cNvSpPr txBox="1">
            <a:spLocks noChangeArrowheads="1"/>
          </p:cNvSpPr>
          <p:nvPr/>
        </p:nvSpPr>
        <p:spPr bwMode="auto">
          <a:xfrm>
            <a:off x="4506386" y="3186960"/>
            <a:ext cx="517452" cy="21544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wrap="square">
            <a:spAutoFit/>
          </a:bodyPr>
          <a:lstStyle>
            <a:lvl1pPr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1pPr>
            <a:lvl2pPr marL="742950" indent="-28575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2pPr>
            <a:lvl3pPr marL="11430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3pPr>
            <a:lvl4pPr marL="16002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4pPr>
            <a:lvl5pPr marL="20574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9pPr>
          </a:lstStyle>
          <a:p>
            <a:pPr marL="0" marR="0" lvl="0" indent="0" algn="ctr" defTabSz="9140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8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ＭＳ Ｐゴシック" pitchFamily="-128" charset="-128"/>
              </a:rPr>
              <a:t>Kiina</a:t>
            </a:r>
            <a:endParaRPr kumimoji="0" lang="fi-FI" sz="105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+mj-lt"/>
              <a:ea typeface="ＭＳ Ｐゴシック" pitchFamily="-128" charset="-128"/>
            </a:endParaRPr>
          </a:p>
        </p:txBody>
      </p:sp>
      <p:sp>
        <p:nvSpPr>
          <p:cNvPr id="209" name="Rectangle 26"/>
          <p:cNvSpPr>
            <a:spLocks noChangeArrowheads="1"/>
          </p:cNvSpPr>
          <p:nvPr/>
        </p:nvSpPr>
        <p:spPr bwMode="auto">
          <a:xfrm flipV="1">
            <a:off x="5521231" y="1405332"/>
            <a:ext cx="558613" cy="2916044"/>
          </a:xfrm>
          <a:prstGeom prst="rect">
            <a:avLst/>
          </a:prstGeom>
          <a:solidFill>
            <a:schemeClr val="accent6"/>
          </a:solidFill>
          <a:ln w="9525">
            <a:solidFill>
              <a:srgbClr val="29282E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defTabSz="9140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14" b="0" i="0" u="none" strike="noStrike" kern="0" cap="none" spc="0" normalizeH="0" baseline="0" noProof="0">
              <a:ln>
                <a:noFill/>
              </a:ln>
              <a:solidFill>
                <a:srgbClr val="002664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10" name="Rectangle 27"/>
          <p:cNvSpPr>
            <a:spLocks noChangeArrowheads="1"/>
          </p:cNvSpPr>
          <p:nvPr/>
        </p:nvSpPr>
        <p:spPr bwMode="auto">
          <a:xfrm flipV="1">
            <a:off x="6083710" y="3263236"/>
            <a:ext cx="1155336" cy="1053797"/>
          </a:xfrm>
          <a:prstGeom prst="rect">
            <a:avLst/>
          </a:prstGeom>
          <a:solidFill>
            <a:schemeClr val="accent1"/>
          </a:solidFill>
          <a:ln w="9525">
            <a:solidFill>
              <a:srgbClr val="29282E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defTabSz="9140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14" b="0" i="0" u="none" strike="noStrike" kern="0" cap="none" spc="0" normalizeH="0" baseline="0" noProof="0">
              <a:ln>
                <a:noFill/>
              </a:ln>
              <a:solidFill>
                <a:srgbClr val="002664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11" name="Text Box 28"/>
          <p:cNvSpPr txBox="1">
            <a:spLocks noChangeArrowheads="1"/>
          </p:cNvSpPr>
          <p:nvPr/>
        </p:nvSpPr>
        <p:spPr bwMode="auto">
          <a:xfrm>
            <a:off x="5597588" y="3185922"/>
            <a:ext cx="421007" cy="21544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wrap="square">
            <a:spAutoFit/>
          </a:bodyPr>
          <a:lstStyle>
            <a:lvl1pPr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1pPr>
            <a:lvl2pPr marL="742950" indent="-28575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2pPr>
            <a:lvl3pPr marL="11430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3pPr>
            <a:lvl4pPr marL="16002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4pPr>
            <a:lvl5pPr marL="20574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9pPr>
          </a:lstStyle>
          <a:p>
            <a:pPr marL="0" marR="0" lvl="0" indent="0" algn="ctr" defTabSz="9140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8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ＭＳ Ｐゴシック" pitchFamily="-128" charset="-128"/>
              </a:rPr>
              <a:t>Intia</a:t>
            </a:r>
          </a:p>
        </p:txBody>
      </p:sp>
      <p:sp>
        <p:nvSpPr>
          <p:cNvPr id="212" name="Rectangle 30"/>
          <p:cNvSpPr>
            <a:spLocks noChangeArrowheads="1"/>
          </p:cNvSpPr>
          <p:nvPr/>
        </p:nvSpPr>
        <p:spPr bwMode="auto">
          <a:xfrm>
            <a:off x="3319576" y="3427916"/>
            <a:ext cx="233766" cy="888149"/>
          </a:xfrm>
          <a:prstGeom prst="rect">
            <a:avLst/>
          </a:prstGeom>
          <a:solidFill>
            <a:schemeClr val="accent2"/>
          </a:solidFill>
          <a:ln w="9525">
            <a:solidFill>
              <a:srgbClr val="29282E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defTabSz="9140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14" b="0" i="0" u="none" strike="noStrike" kern="0" cap="none" spc="0" normalizeH="0" baseline="0" noProof="0" dirty="0">
              <a:ln>
                <a:noFill/>
              </a:ln>
              <a:solidFill>
                <a:srgbClr val="002664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13" name="Text Box 31"/>
          <p:cNvSpPr txBox="1">
            <a:spLocks noChangeArrowheads="1"/>
          </p:cNvSpPr>
          <p:nvPr/>
        </p:nvSpPr>
        <p:spPr bwMode="auto">
          <a:xfrm>
            <a:off x="6197228" y="1810788"/>
            <a:ext cx="767014" cy="2806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1pPr>
            <a:lvl2pPr marL="742950" indent="-28575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2pPr>
            <a:lvl3pPr marL="11430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3pPr>
            <a:lvl4pPr marL="16002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4pPr>
            <a:lvl5pPr marL="20574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9pPr>
          </a:lstStyle>
          <a:p>
            <a:pPr marL="0" marR="0" lvl="0" indent="0" defTabSz="9140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209" b="0" i="0" u="none" strike="noStrike" kern="0" cap="none" spc="0" normalizeH="0" baseline="0" noProof="0">
              <a:ln>
                <a:noFill/>
              </a:ln>
              <a:solidFill>
                <a:srgbClr val="002664"/>
              </a:solidFill>
              <a:effectLst/>
              <a:uLnTx/>
              <a:uFillTx/>
              <a:latin typeface="Arial" charset="0"/>
              <a:ea typeface="ＭＳ Ｐゴシック" pitchFamily="-128" charset="-128"/>
            </a:endParaRPr>
          </a:p>
        </p:txBody>
      </p:sp>
      <p:sp>
        <p:nvSpPr>
          <p:cNvPr id="214" name="Rectangle 32"/>
          <p:cNvSpPr>
            <a:spLocks noChangeArrowheads="1"/>
          </p:cNvSpPr>
          <p:nvPr/>
        </p:nvSpPr>
        <p:spPr bwMode="auto">
          <a:xfrm>
            <a:off x="3538052" y="3307791"/>
            <a:ext cx="291456" cy="1013573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rgbClr val="29282E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defTabSz="9140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14" b="0" i="0" u="none" strike="noStrike" kern="0" cap="none" spc="0" normalizeH="0" baseline="0" noProof="0">
              <a:ln>
                <a:noFill/>
              </a:ln>
              <a:solidFill>
                <a:srgbClr val="002664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15" name="Text Box 33"/>
          <p:cNvSpPr txBox="1">
            <a:spLocks noChangeArrowheads="1"/>
          </p:cNvSpPr>
          <p:nvPr/>
        </p:nvSpPr>
        <p:spPr bwMode="auto">
          <a:xfrm rot="-5400000">
            <a:off x="3186808" y="3510870"/>
            <a:ext cx="997267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1pPr>
            <a:lvl2pPr marL="742950" indent="-28575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2pPr>
            <a:lvl3pPr marL="11430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3pPr>
            <a:lvl4pPr marL="16002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4pPr>
            <a:lvl5pPr marL="20574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9pPr>
          </a:lstStyle>
          <a:p>
            <a:pPr marL="0" marR="0" lvl="0" indent="0" defTabSz="9140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8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ＭＳ Ｐゴシック" pitchFamily="-128" charset="-128"/>
              </a:rPr>
              <a:t>Muu it. Eurooppa </a:t>
            </a:r>
          </a:p>
        </p:txBody>
      </p:sp>
      <p:sp>
        <p:nvSpPr>
          <p:cNvPr id="216" name="Rectangle 34"/>
          <p:cNvSpPr>
            <a:spLocks noChangeArrowheads="1"/>
          </p:cNvSpPr>
          <p:nvPr/>
        </p:nvSpPr>
        <p:spPr bwMode="auto">
          <a:xfrm>
            <a:off x="7240249" y="3478890"/>
            <a:ext cx="159350" cy="837663"/>
          </a:xfrm>
          <a:prstGeom prst="rect">
            <a:avLst/>
          </a:prstGeom>
          <a:solidFill>
            <a:schemeClr val="accent3"/>
          </a:solidFill>
          <a:ln w="9525">
            <a:solidFill>
              <a:srgbClr val="29282E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defTabSz="9140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14" b="0" i="0" u="none" strike="noStrike" kern="0" cap="none" spc="0" normalizeH="0" baseline="0" noProof="0">
              <a:ln>
                <a:noFill/>
              </a:ln>
              <a:solidFill>
                <a:srgbClr val="002664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17" name="Rectangle 35"/>
          <p:cNvSpPr>
            <a:spLocks noChangeArrowheads="1"/>
          </p:cNvSpPr>
          <p:nvPr/>
        </p:nvSpPr>
        <p:spPr bwMode="auto">
          <a:xfrm flipV="1">
            <a:off x="7399598" y="3156417"/>
            <a:ext cx="120467" cy="1160137"/>
          </a:xfrm>
          <a:prstGeom prst="rect">
            <a:avLst/>
          </a:prstGeom>
          <a:solidFill>
            <a:schemeClr val="accent6">
              <a:lumMod val="75000"/>
            </a:schemeClr>
          </a:solidFill>
          <a:ln w="9525">
            <a:solidFill>
              <a:srgbClr val="29282E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defTabSz="9140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14" b="0" i="0" u="none" strike="noStrike" kern="0" cap="none" spc="0" normalizeH="0" baseline="0" noProof="0">
              <a:ln>
                <a:noFill/>
              </a:ln>
              <a:solidFill>
                <a:srgbClr val="002664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18" name="Rectangle 36"/>
          <p:cNvSpPr>
            <a:spLocks noChangeArrowheads="1"/>
          </p:cNvSpPr>
          <p:nvPr/>
        </p:nvSpPr>
        <p:spPr bwMode="auto">
          <a:xfrm>
            <a:off x="7520396" y="3196629"/>
            <a:ext cx="249027" cy="111347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rgbClr val="29282E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defTabSz="9140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14" b="0" i="0" u="none" strike="noStrike" kern="0" cap="none" spc="0" normalizeH="0" baseline="0" noProof="0">
              <a:ln>
                <a:noFill/>
              </a:ln>
              <a:solidFill>
                <a:srgbClr val="002664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19" name="Rectangle 38"/>
          <p:cNvSpPr>
            <a:spLocks noChangeArrowheads="1"/>
          </p:cNvSpPr>
          <p:nvPr/>
        </p:nvSpPr>
        <p:spPr bwMode="auto">
          <a:xfrm>
            <a:off x="7769422" y="3427735"/>
            <a:ext cx="685528" cy="88399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rgbClr val="29282E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defTabSz="9140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14" b="0" i="0" u="none" strike="noStrike" kern="0" cap="none" spc="0" normalizeH="0" baseline="0" noProof="0">
              <a:ln>
                <a:noFill/>
              </a:ln>
              <a:solidFill>
                <a:srgbClr val="002664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20" name="Text Box 40"/>
          <p:cNvSpPr txBox="1">
            <a:spLocks noChangeArrowheads="1"/>
          </p:cNvSpPr>
          <p:nvPr/>
        </p:nvSpPr>
        <p:spPr bwMode="auto">
          <a:xfrm rot="-5400000">
            <a:off x="3158099" y="3807010"/>
            <a:ext cx="551513" cy="215444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>
            <a:spAutoFit/>
          </a:bodyPr>
          <a:lstStyle>
            <a:lvl1pPr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1pPr>
            <a:lvl2pPr marL="742950" indent="-28575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2pPr>
            <a:lvl3pPr marL="11430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3pPr>
            <a:lvl4pPr marL="16002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4pPr>
            <a:lvl5pPr marL="20574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9pPr>
          </a:lstStyle>
          <a:p>
            <a:pPr marL="0" marR="0" lvl="0" indent="0" defTabSz="9140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800" u="none" strike="noStrike" kern="0" cap="none" spc="0" normalizeH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ＭＳ Ｐゴシック" pitchFamily="-128" charset="-128"/>
              </a:rPr>
              <a:t>Venäjä</a:t>
            </a:r>
            <a:r>
              <a:rPr kumimoji="0" lang="fi-FI" sz="800" b="1" i="0" u="none" strike="noStrike" kern="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rial" charset="0"/>
                <a:ea typeface="ＭＳ Ｐゴシック" pitchFamily="-128" charset="-128"/>
              </a:rPr>
              <a:t> </a:t>
            </a:r>
            <a:endParaRPr kumimoji="0" lang="fi-FI" sz="800" b="0" i="0" u="none" strike="noStrike" kern="0" cap="none" spc="0" normalizeH="0" baseline="0" noProof="0" dirty="0">
              <a:ln>
                <a:noFill/>
              </a:ln>
              <a:solidFill>
                <a:srgbClr val="92D050"/>
              </a:solidFill>
              <a:effectLst/>
              <a:uLnTx/>
              <a:uFillTx/>
              <a:latin typeface="Arial" charset="0"/>
              <a:ea typeface="ＭＳ Ｐゴシック" pitchFamily="-128" charset="-128"/>
            </a:endParaRPr>
          </a:p>
        </p:txBody>
      </p:sp>
      <p:sp>
        <p:nvSpPr>
          <p:cNvPr id="221" name="Text Box 41"/>
          <p:cNvSpPr txBox="1">
            <a:spLocks noChangeArrowheads="1"/>
          </p:cNvSpPr>
          <p:nvPr/>
        </p:nvSpPr>
        <p:spPr bwMode="auto">
          <a:xfrm rot="-5400000">
            <a:off x="7033210" y="3717864"/>
            <a:ext cx="58862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1pPr>
            <a:lvl2pPr marL="742950" indent="-28575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2pPr>
            <a:lvl3pPr marL="11430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3pPr>
            <a:lvl4pPr marL="16002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4pPr>
            <a:lvl5pPr marL="20574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9pPr>
          </a:lstStyle>
          <a:p>
            <a:pPr marL="0" marR="0" lvl="0" indent="0" defTabSz="9140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8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ＭＳ Ｐゴシック" pitchFamily="-128" charset="-128"/>
              </a:rPr>
              <a:t>Brasilia</a:t>
            </a:r>
            <a:r>
              <a:rPr kumimoji="0" lang="fi-FI" sz="800" b="0" i="0" u="none" strike="noStrike" kern="0" cap="none" spc="0" normalizeH="0" baseline="0" noProof="0" dirty="0">
                <a:ln>
                  <a:noFill/>
                </a:ln>
                <a:solidFill>
                  <a:srgbClr val="83A00C">
                    <a:lumMod val="60000"/>
                    <a:lumOff val="40000"/>
                  </a:srgbClr>
                </a:solidFill>
                <a:effectLst/>
                <a:uLnTx/>
                <a:uFillTx/>
                <a:ea typeface="ＭＳ Ｐゴシック" pitchFamily="-128" charset="-128"/>
              </a:rPr>
              <a:t> </a:t>
            </a:r>
          </a:p>
        </p:txBody>
      </p:sp>
      <p:sp>
        <p:nvSpPr>
          <p:cNvPr id="222" name="Text Box 42"/>
          <p:cNvSpPr txBox="1">
            <a:spLocks noChangeArrowheads="1"/>
          </p:cNvSpPr>
          <p:nvPr/>
        </p:nvSpPr>
        <p:spPr bwMode="auto">
          <a:xfrm rot="-5400000">
            <a:off x="7086680" y="3634753"/>
            <a:ext cx="73843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1pPr>
            <a:lvl2pPr marL="742950" indent="-28575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2pPr>
            <a:lvl3pPr marL="11430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3pPr>
            <a:lvl4pPr marL="16002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4pPr>
            <a:lvl5pPr marL="20574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9pPr>
          </a:lstStyle>
          <a:p>
            <a:pPr marL="0" marR="0" lvl="0" indent="0" defTabSz="9140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8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ＭＳ Ｐゴシック" pitchFamily="-128" charset="-128"/>
              </a:rPr>
              <a:t>Meksiko</a:t>
            </a:r>
            <a:r>
              <a:rPr kumimoji="0" lang="fi-FI" sz="8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ＭＳ Ｐゴシック" pitchFamily="-128" charset="-128"/>
              </a:rPr>
              <a:t> </a:t>
            </a:r>
          </a:p>
        </p:txBody>
      </p:sp>
      <p:sp>
        <p:nvSpPr>
          <p:cNvPr id="223" name="Text Box 43"/>
          <p:cNvSpPr txBox="1">
            <a:spLocks noChangeArrowheads="1"/>
          </p:cNvSpPr>
          <p:nvPr/>
        </p:nvSpPr>
        <p:spPr bwMode="auto">
          <a:xfrm rot="-5400000">
            <a:off x="7260248" y="3556564"/>
            <a:ext cx="788114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1pPr>
            <a:lvl2pPr marL="742950" indent="-28575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2pPr>
            <a:lvl3pPr marL="11430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3pPr>
            <a:lvl4pPr marL="16002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4pPr>
            <a:lvl5pPr marL="20574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9pPr>
          </a:lstStyle>
          <a:p>
            <a:pPr marL="0" marR="0" lvl="0" indent="0" defTabSz="9140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8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ＭＳ Ｐゴシック" pitchFamily="-128" charset="-128"/>
              </a:rPr>
              <a:t>Muu Lat.</a:t>
            </a:r>
          </a:p>
          <a:p>
            <a:pPr marL="0" marR="0" lvl="0" indent="0" defTabSz="9140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8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ＭＳ Ｐゴシック" pitchFamily="-128" charset="-128"/>
              </a:rPr>
              <a:t> Am. </a:t>
            </a:r>
          </a:p>
        </p:txBody>
      </p:sp>
      <p:sp>
        <p:nvSpPr>
          <p:cNvPr id="224" name="Text Box 44"/>
          <p:cNvSpPr txBox="1">
            <a:spLocks noChangeArrowheads="1"/>
          </p:cNvSpPr>
          <p:nvPr/>
        </p:nvSpPr>
        <p:spPr bwMode="auto">
          <a:xfrm>
            <a:off x="7732494" y="3685556"/>
            <a:ext cx="728116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1pPr>
            <a:lvl2pPr marL="742950" indent="-28575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2pPr>
            <a:lvl3pPr marL="11430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3pPr>
            <a:lvl4pPr marL="16002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4pPr>
            <a:lvl5pPr marL="20574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9pPr>
          </a:lstStyle>
          <a:p>
            <a:pPr marL="0" marR="0" lvl="0" indent="0" algn="ctr" defTabSz="9140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800" u="none" strike="noStrike" kern="0" cap="none" spc="0" normalizeH="0" noProof="0" dirty="0">
                <a:ln>
                  <a:noFill/>
                </a:ln>
                <a:effectLst/>
                <a:uLnTx/>
                <a:uFillTx/>
                <a:latin typeface="+mj-lt"/>
                <a:ea typeface="ＭＳ Ｐゴシック" pitchFamily="-128" charset="-128"/>
              </a:rPr>
              <a:t>Lähi-itä</a:t>
            </a:r>
            <a:r>
              <a:rPr kumimoji="0" lang="fi-FI" sz="8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ＭＳ Ｐゴシック" pitchFamily="-128" charset="-128"/>
              </a:rPr>
              <a:t> ja</a:t>
            </a:r>
          </a:p>
          <a:p>
            <a:pPr marL="0" marR="0" lvl="0" indent="0" algn="ctr" defTabSz="9140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8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ＭＳ Ｐゴシック" pitchFamily="-128" charset="-128"/>
              </a:rPr>
              <a:t> Afrikka </a:t>
            </a:r>
          </a:p>
        </p:txBody>
      </p:sp>
      <p:sp>
        <p:nvSpPr>
          <p:cNvPr id="225" name="Text Box 48"/>
          <p:cNvSpPr txBox="1">
            <a:spLocks noChangeArrowheads="1"/>
          </p:cNvSpPr>
          <p:nvPr/>
        </p:nvSpPr>
        <p:spPr bwMode="auto">
          <a:xfrm>
            <a:off x="1638678" y="1875787"/>
            <a:ext cx="2328416" cy="253916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1pPr>
            <a:lvl2pPr marL="742950" indent="-28575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2pPr>
            <a:lvl3pPr marL="11430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3pPr>
            <a:lvl4pPr marL="16002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4pPr>
            <a:lvl5pPr marL="20574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9pPr>
          </a:lstStyle>
          <a:p>
            <a:pPr marL="0" marR="0" lvl="0" indent="0" algn="ctr" defTabSz="9140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5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ＭＳ Ｐゴシック" pitchFamily="-128" charset="-128"/>
              </a:rPr>
              <a:t>Kasvu keskimäärin: +6,0 %</a:t>
            </a:r>
          </a:p>
        </p:txBody>
      </p:sp>
      <p:sp>
        <p:nvSpPr>
          <p:cNvPr id="226" name="Line 49"/>
          <p:cNvSpPr>
            <a:spLocks noChangeShapeType="1"/>
          </p:cNvSpPr>
          <p:nvPr/>
        </p:nvSpPr>
        <p:spPr bwMode="auto">
          <a:xfrm>
            <a:off x="845463" y="2915854"/>
            <a:ext cx="7622874" cy="23675"/>
          </a:xfrm>
          <a:prstGeom prst="line">
            <a:avLst/>
          </a:prstGeom>
          <a:noFill/>
          <a:ln w="31750">
            <a:solidFill>
              <a:srgbClr val="002060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defTabSz="914069"/>
            <a:endParaRPr lang="fi-FI" sz="1814" dirty="0">
              <a:solidFill>
                <a:srgbClr val="002664"/>
              </a:solidFill>
              <a:latin typeface="Arial"/>
            </a:endParaRPr>
          </a:p>
        </p:txBody>
      </p:sp>
      <p:sp>
        <p:nvSpPr>
          <p:cNvPr id="229" name="Text Box 46"/>
          <p:cNvSpPr txBox="1">
            <a:spLocks noChangeArrowheads="1"/>
          </p:cNvSpPr>
          <p:nvPr/>
        </p:nvSpPr>
        <p:spPr bwMode="auto">
          <a:xfrm>
            <a:off x="1264494" y="4506720"/>
            <a:ext cx="7096815" cy="2539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1pPr>
            <a:lvl2pPr marL="742950" indent="-28575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2pPr>
            <a:lvl3pPr marL="11430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3pPr>
            <a:lvl4pPr marL="16002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4pPr>
            <a:lvl5pPr marL="20574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9pPr>
          </a:lstStyle>
          <a:p>
            <a:r>
              <a:rPr lang="fi-FI" sz="1050" dirty="0">
                <a:latin typeface="+mj-lt"/>
              </a:rPr>
              <a:t>Pylvään leveys kuvaa osuutta (ostovoimapariteetilla korjatusta) maailman bkt:stä vuonna 2020, %</a:t>
            </a:r>
          </a:p>
        </p:txBody>
      </p:sp>
      <p:sp>
        <p:nvSpPr>
          <p:cNvPr id="231" name="Text Box 29"/>
          <p:cNvSpPr txBox="1">
            <a:spLocks noChangeArrowheads="1"/>
          </p:cNvSpPr>
          <p:nvPr/>
        </p:nvSpPr>
        <p:spPr bwMode="auto">
          <a:xfrm>
            <a:off x="6470459" y="3638975"/>
            <a:ext cx="458780" cy="33855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wrap="none">
            <a:spAutoFit/>
          </a:bodyPr>
          <a:lstStyle>
            <a:lvl1pPr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1pPr>
            <a:lvl2pPr marL="742950" indent="-28575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2pPr>
            <a:lvl3pPr marL="11430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3pPr>
            <a:lvl4pPr marL="16002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4pPr>
            <a:lvl5pPr marL="20574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9pPr>
          </a:lstStyle>
          <a:p>
            <a:pPr algn="ctr"/>
            <a:r>
              <a:rPr lang="fi-FI" sz="800" dirty="0">
                <a:latin typeface="Verdana" panose="020B0604030504040204" pitchFamily="34" charset="0"/>
              </a:rPr>
              <a:t>Muu </a:t>
            </a:r>
          </a:p>
          <a:p>
            <a:pPr algn="ctr"/>
            <a:r>
              <a:rPr lang="fi-FI" sz="800" dirty="0">
                <a:latin typeface="Verdana" panose="020B0604030504040204" pitchFamily="34" charset="0"/>
              </a:rPr>
              <a:t>Aasia</a:t>
            </a:r>
          </a:p>
        </p:txBody>
      </p:sp>
      <p:cxnSp>
        <p:nvCxnSpPr>
          <p:cNvPr id="37" name="Suora nuoliyhdysviiva 36">
            <a:extLst>
              <a:ext uri="{FF2B5EF4-FFF2-40B4-BE49-F238E27FC236}">
                <a16:creationId xmlns:a16="http://schemas.microsoft.com/office/drawing/2014/main" id="{EBB6C045-2B33-4E5B-8543-870CE60FA6D0}"/>
              </a:ext>
            </a:extLst>
          </p:cNvPr>
          <p:cNvCxnSpPr>
            <a:cxnSpLocks/>
          </p:cNvCxnSpPr>
          <p:nvPr/>
        </p:nvCxnSpPr>
        <p:spPr bwMode="auto">
          <a:xfrm>
            <a:off x="2734290" y="2148396"/>
            <a:ext cx="183376" cy="725244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" name="Tekstiruutu 1">
            <a:extLst>
              <a:ext uri="{FF2B5EF4-FFF2-40B4-BE49-F238E27FC236}">
                <a16:creationId xmlns:a16="http://schemas.microsoft.com/office/drawing/2014/main" id="{B2F33495-F554-4D35-AB1A-A31F95B2B096}"/>
              </a:ext>
            </a:extLst>
          </p:cNvPr>
          <p:cNvSpPr txBox="1"/>
          <p:nvPr/>
        </p:nvSpPr>
        <p:spPr>
          <a:xfrm>
            <a:off x="919909" y="1355526"/>
            <a:ext cx="2435086" cy="25736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fi-FI" sz="1200" b="0" dirty="0"/>
              <a:t>Bkt:n kasvu 2021/2020, %</a:t>
            </a:r>
            <a:endParaRPr lang="fi-FI" sz="1200" spc="-40" dirty="0"/>
          </a:p>
        </p:txBody>
      </p:sp>
      <p:sp>
        <p:nvSpPr>
          <p:cNvPr id="38" name="Rectangle 36">
            <a:extLst>
              <a:ext uri="{FF2B5EF4-FFF2-40B4-BE49-F238E27FC236}">
                <a16:creationId xmlns:a16="http://schemas.microsoft.com/office/drawing/2014/main" id="{94ECD6A5-8757-4AE7-A7F4-F3E4ED8371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20395" y="3203890"/>
            <a:ext cx="249027" cy="111347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rgbClr val="29282E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defTabSz="9140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14" b="0" i="0" u="none" strike="noStrike" kern="0" cap="none" spc="0" normalizeH="0" baseline="0" noProof="0">
              <a:ln>
                <a:noFill/>
              </a:ln>
              <a:solidFill>
                <a:srgbClr val="002664"/>
              </a:solidFill>
              <a:effectLst/>
              <a:uLnTx/>
              <a:uFillTx/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98896778"/>
      </p:ext>
    </p:extLst>
  </p:cSld>
  <p:clrMapOvr>
    <a:masterClrMapping/>
  </p:clrMapOvr>
  <p:transition spd="med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>
            <a:extLst>
              <a:ext uri="{FF2B5EF4-FFF2-40B4-BE49-F238E27FC236}">
                <a16:creationId xmlns:a16="http://schemas.microsoft.com/office/drawing/2014/main" id="{4BB0440D-C81A-46A2-A992-15D38EB5099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4103" y="306549"/>
            <a:ext cx="7935794" cy="4425865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fi-FI" sz="2000" dirty="0"/>
              <a:t>Tilanne ja näkymät suomalaisessa teknologiateollisuudessa jatkaneet piristymistään alkuvuonna</a:t>
            </a:r>
          </a:p>
          <a:p>
            <a:pPr>
              <a:lnSpc>
                <a:spcPct val="100000"/>
              </a:lnSpc>
            </a:pPr>
            <a:endParaRPr lang="fi-FI" sz="2000" dirty="0"/>
          </a:p>
          <a:p>
            <a:pPr marL="3537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fi-FI" sz="1800" dirty="0"/>
              <a:t>Uusien tilausten arvo putosi selvästi edelliseen neljännekseen verrattuna, mutta oli edelleen hyvällä tasolla.</a:t>
            </a:r>
          </a:p>
          <a:p>
            <a:pPr marL="657765" lvl="1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fi-FI" sz="1400" dirty="0">
                <a:solidFill>
                  <a:schemeClr val="bg1"/>
                </a:solidFill>
              </a:rPr>
              <a:t>Pudotuksesta ei ole syytä olla huolissaan; taustalla vertailukauden </a:t>
            </a:r>
            <a:r>
              <a:rPr lang="fi-FI" sz="1400">
                <a:solidFill>
                  <a:schemeClr val="bg1"/>
                </a:solidFill>
              </a:rPr>
              <a:t>poikkeuksellisen suuri tilauskertymä</a:t>
            </a:r>
            <a:r>
              <a:rPr lang="fi-FI" sz="1400" dirty="0">
                <a:solidFill>
                  <a:schemeClr val="bg1"/>
                </a:solidFill>
              </a:rPr>
              <a:t>.</a:t>
            </a:r>
          </a:p>
          <a:p>
            <a:pPr marL="657765" lvl="1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fi-FI" sz="1400" dirty="0">
              <a:solidFill>
                <a:schemeClr val="bg1"/>
              </a:solidFill>
            </a:endParaRPr>
          </a:p>
          <a:p>
            <a:pPr marL="3537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fi-FI" sz="1800" dirty="0"/>
              <a:t>Teknologiateollisuus Suomessa toistaiseksi samassa rytmissä muun Euroopan kanssa.</a:t>
            </a:r>
          </a:p>
          <a:p>
            <a:pPr marL="3537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fi-FI" sz="1800" dirty="0"/>
          </a:p>
          <a:p>
            <a:pPr marL="3537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fi-FI" sz="1800" dirty="0"/>
              <a:t>Yrityksillä edelleen epävarmuutta pidemmän aikavälin näkymistä.</a:t>
            </a:r>
          </a:p>
        </p:txBody>
      </p:sp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9FB9D53A-29BA-4917-A69D-C33A4A7289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6</a:t>
            </a:fld>
            <a:endParaRPr lang="fi-FI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D22D1770-AB6E-4312-B195-7F88B9AFA1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A50D0A-99B9-48FE-8B08-047EE10ADBDA}" type="datetime1">
              <a:rPr lang="fi-FI" smtClean="0"/>
              <a:t>28.4.2021</a:t>
            </a:fld>
            <a:endParaRPr lang="fi-FI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58AADB30-7758-4072-A27D-92205D0172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573167509"/>
      </p:ext>
    </p:extLst>
  </p:cSld>
  <p:clrMapOvr>
    <a:masterClrMapping/>
  </p:clrMapOvr>
  <p:transition spd="med"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i-FI"/>
              <a:t>Teollisuuden ja teknologiateollisuuden liikevaihto Suomessa</a:t>
            </a:r>
          </a:p>
        </p:txBody>
      </p:sp>
      <p:sp>
        <p:nvSpPr>
          <p:cNvPr id="3" name="Dian numeron paikkamerkki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7</a:t>
            </a:fld>
            <a:endParaRPr lang="fi-FI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C97DB-DA9C-4CFA-B970-B8599B25F3E4}" type="datetime1">
              <a:rPr lang="fi-FI" smtClean="0"/>
              <a:t>28.4.2021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</a:p>
        </p:txBody>
      </p:sp>
      <p:sp>
        <p:nvSpPr>
          <p:cNvPr id="7" name="Tekstin paikkamerkki 6"/>
          <p:cNvSpPr>
            <a:spLocks noGrp="1"/>
          </p:cNvSpPr>
          <p:nvPr>
            <p:ph type="body" sz="quarter" idx="18"/>
          </p:nvPr>
        </p:nvSpPr>
        <p:spPr>
          <a:xfrm>
            <a:off x="2334682" y="4727574"/>
            <a:ext cx="4116547" cy="165163"/>
          </a:xfrm>
        </p:spPr>
        <p:txBody>
          <a:bodyPr/>
          <a:lstStyle/>
          <a:p>
            <a:r>
              <a:rPr lang="fi-FI"/>
              <a:t>Kausipuhdistetut teollisuuden ja palveluiden liikevaihtokuvaajat</a:t>
            </a:r>
          </a:p>
          <a:p>
            <a:r>
              <a:rPr lang="fi-FI"/>
              <a:t>Lähde: </a:t>
            </a:r>
            <a:r>
              <a:rPr lang="fi-FI" err="1"/>
              <a:t>Macrobond</a:t>
            </a:r>
            <a:r>
              <a:rPr lang="fi-FI"/>
              <a:t>, Tilastokeskus</a:t>
            </a:r>
          </a:p>
          <a:p>
            <a:endParaRPr lang="fi-FI"/>
          </a:p>
        </p:txBody>
      </p:sp>
      <p:graphicFrame>
        <p:nvGraphicFramePr>
          <p:cNvPr id="9" name="Sisällön paikkamerkki 8"/>
          <p:cNvGraphicFramePr>
            <a:graphicFrameLocks noGrp="1" noChangeAspect="1"/>
          </p:cNvGraphicFramePr>
          <p:nvPr>
            <p:ph sz="quarter" idx="17"/>
            <p:extLst>
              <p:ext uri="{D42A27DB-BD31-4B8C-83A1-F6EECF244321}">
                <p14:modId xmlns:p14="http://schemas.microsoft.com/office/powerpoint/2010/main" val="1563935932"/>
              </p:ext>
            </p:extLst>
          </p:nvPr>
        </p:nvGraphicFramePr>
        <p:xfrm>
          <a:off x="383718" y="1103313"/>
          <a:ext cx="8386088" cy="35417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2" imgW="13193184" imgH="5572640" progId="Mbnd.mbnd">
                  <p:embed/>
                </p:oleObj>
              </mc:Choice>
              <mc:Fallback>
                <p:oleObj name="Macrobond document" r:id="rId2" imgW="13193184" imgH="5572640" progId="Mbnd.mbnd">
                  <p:embed/>
                  <p:pic>
                    <p:nvPicPr>
                      <p:cNvPr id="9" name="Sisällön paikkamerkki 8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383718" y="1103313"/>
                        <a:ext cx="8386088" cy="35417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14849149"/>
      </p:ext>
    </p:extLst>
  </p:cSld>
  <p:clrMapOvr>
    <a:masterClrMapping/>
  </p:clrMapOvr>
  <p:transition spd="med"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i-FI"/>
              <a:t>Teknologiateollisuuden liikevaihto Suomessa</a:t>
            </a:r>
          </a:p>
        </p:txBody>
      </p:sp>
      <p:sp>
        <p:nvSpPr>
          <p:cNvPr id="3" name="Dian numeron paikkamerkki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8</a:t>
            </a:fld>
            <a:endParaRPr lang="fi-FI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C97DB-DA9C-4CFA-B970-B8599B25F3E4}" type="datetime1">
              <a:rPr lang="fi-FI" smtClean="0"/>
              <a:t>28.4.2021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</a:p>
        </p:txBody>
      </p:sp>
      <p:sp>
        <p:nvSpPr>
          <p:cNvPr id="7" name="Tekstin paikkamerkki 6"/>
          <p:cNvSpPr>
            <a:spLocks noGrp="1"/>
          </p:cNvSpPr>
          <p:nvPr>
            <p:ph type="body" sz="quarter" idx="18"/>
          </p:nvPr>
        </p:nvSpPr>
        <p:spPr>
          <a:xfrm>
            <a:off x="2334682" y="4645382"/>
            <a:ext cx="6060577" cy="165163"/>
          </a:xfrm>
        </p:spPr>
        <p:txBody>
          <a:bodyPr/>
          <a:lstStyle/>
          <a:p>
            <a:r>
              <a:rPr lang="fi-FI" dirty="0"/>
              <a:t>Kausipuhdistetut teollisuuden ja palveluiden liikevaihtokuvaajat</a:t>
            </a:r>
          </a:p>
          <a:p>
            <a:r>
              <a:rPr lang="fi-FI" dirty="0"/>
              <a:t>Osuudet liikevaihdosta 2019: kone- ja metallituoteteollisuus 40 %, elektroniikka- ja sähköteollisuus 22 %, tietotekniikka-ala 17 %, metallien jalostus 12 %, suunnittelu ja konsultointi 8 %</a:t>
            </a:r>
          </a:p>
          <a:p>
            <a:r>
              <a:rPr lang="fi-FI" dirty="0"/>
              <a:t>Lähde: </a:t>
            </a:r>
            <a:r>
              <a:rPr lang="fi-FI" dirty="0" err="1"/>
              <a:t>Macrobond</a:t>
            </a:r>
            <a:r>
              <a:rPr lang="fi-FI" dirty="0"/>
              <a:t>, Tilastokeskus</a:t>
            </a:r>
          </a:p>
          <a:p>
            <a:endParaRPr lang="fi-FI" dirty="0"/>
          </a:p>
        </p:txBody>
      </p:sp>
      <p:graphicFrame>
        <p:nvGraphicFramePr>
          <p:cNvPr id="12" name="Sisällön paikkamerkki 11"/>
          <p:cNvGraphicFramePr>
            <a:graphicFrameLocks noGrp="1" noChangeAspect="1"/>
          </p:cNvGraphicFramePr>
          <p:nvPr>
            <p:ph sz="quarter" idx="17"/>
          </p:nvPr>
        </p:nvGraphicFramePr>
        <p:xfrm>
          <a:off x="383718" y="1103313"/>
          <a:ext cx="8386088" cy="35417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2" imgW="13193184" imgH="5572640" progId="Mbnd.mbnd">
                  <p:embed/>
                </p:oleObj>
              </mc:Choice>
              <mc:Fallback>
                <p:oleObj name="Macrobond document" r:id="rId2" imgW="13193184" imgH="5572640" progId="Mbnd.mbnd">
                  <p:embed/>
                  <p:pic>
                    <p:nvPicPr>
                      <p:cNvPr id="12" name="Sisällön paikkamerkki 1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383718" y="1103313"/>
                        <a:ext cx="8386088" cy="35417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92367370"/>
      </p:ext>
    </p:extLst>
  </p:cSld>
  <p:clrMapOvr>
    <a:masterClrMapping/>
  </p:clrMapOvr>
  <p:transition spd="med"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>
            <a:extLst>
              <a:ext uri="{FF2B5EF4-FFF2-40B4-BE49-F238E27FC236}">
                <a16:creationId xmlns:a16="http://schemas.microsoft.com/office/drawing/2014/main" id="{76FE28C0-EFDC-4114-8945-A88DDBB3C88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i-FI" dirty="0"/>
              <a:t>Yritykset arvioivat tilanteen kehittyvän myönteisesti lähikuukausina</a:t>
            </a:r>
          </a:p>
        </p:txBody>
      </p:sp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5C90953A-AAE9-4280-9AB4-C59041B868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9</a:t>
            </a:fld>
            <a:endParaRPr lang="fi-FI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08118502-4A65-4CD0-AAF3-310F7D0DA1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C97DB-DA9C-4CFA-B970-B8599B25F3E4}" type="datetime1">
              <a:rPr lang="fi-FI" smtClean="0"/>
              <a:t>28.4.2021</a:t>
            </a:fld>
            <a:endParaRPr lang="fi-FI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B72A1B6F-6730-4658-A754-C112D841F9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6">
            <a:extLst>
              <a:ext uri="{FF2B5EF4-FFF2-40B4-BE49-F238E27FC236}">
                <a16:creationId xmlns:a16="http://schemas.microsoft.com/office/drawing/2014/main" id="{A883D252-21AB-4D23-B6AF-A5FD50D0483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334682" y="4727574"/>
            <a:ext cx="6053742" cy="415926"/>
          </a:xfrm>
        </p:spPr>
        <p:txBody>
          <a:bodyPr/>
          <a:lstStyle/>
          <a:p>
            <a:r>
              <a:rPr lang="fi-FI" dirty="0"/>
              <a:t>Lähde: Teknologiateollisuus ry:n koronapulssi –jäsenkyselyt</a:t>
            </a:r>
          </a:p>
          <a:p>
            <a:r>
              <a:rPr lang="fi-FI" dirty="0"/>
              <a:t>7.12.2020 n=532, 4.2.2021 n=523, 29.4.2021 n=449.</a:t>
            </a:r>
          </a:p>
          <a:p>
            <a:endParaRPr lang="fi-FI" dirty="0"/>
          </a:p>
        </p:txBody>
      </p:sp>
      <p:graphicFrame>
        <p:nvGraphicFramePr>
          <p:cNvPr id="8" name="Sisällön paikkamerkki 9">
            <a:extLst>
              <a:ext uri="{FF2B5EF4-FFF2-40B4-BE49-F238E27FC236}">
                <a16:creationId xmlns:a16="http://schemas.microsoft.com/office/drawing/2014/main" id="{D197F15D-450E-4FB4-8981-8146E495A50E}"/>
              </a:ext>
            </a:extLst>
          </p:cNvPr>
          <p:cNvGraphicFramePr>
            <a:graphicFrameLocks noGrp="1"/>
          </p:cNvGraphicFramePr>
          <p:nvPr>
            <p:ph sz="quarter" idx="17"/>
          </p:nvPr>
        </p:nvGraphicFramePr>
        <p:xfrm>
          <a:off x="381000" y="1103313"/>
          <a:ext cx="8391525" cy="3541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4" name="Tekstiruutu 13">
            <a:extLst>
              <a:ext uri="{FF2B5EF4-FFF2-40B4-BE49-F238E27FC236}">
                <a16:creationId xmlns:a16="http://schemas.microsoft.com/office/drawing/2014/main" id="{65054603-5EDB-48DD-ABBD-118DA9B3A626}"/>
              </a:ext>
            </a:extLst>
          </p:cNvPr>
          <p:cNvSpPr txBox="1"/>
          <p:nvPr/>
        </p:nvSpPr>
        <p:spPr>
          <a:xfrm>
            <a:off x="971600" y="1223465"/>
            <a:ext cx="1765824" cy="23428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fi-FI" sz="1050" spc="-40" dirty="0"/>
              <a:t>Osuus yrityksistä, %</a:t>
            </a:r>
          </a:p>
        </p:txBody>
      </p:sp>
      <p:sp>
        <p:nvSpPr>
          <p:cNvPr id="6" name="Tekstiruutu 5">
            <a:extLst>
              <a:ext uri="{FF2B5EF4-FFF2-40B4-BE49-F238E27FC236}">
                <a16:creationId xmlns:a16="http://schemas.microsoft.com/office/drawing/2014/main" id="{CFD15DBF-9EBB-4954-9C59-6327418397B4}"/>
              </a:ext>
            </a:extLst>
          </p:cNvPr>
          <p:cNvSpPr txBox="1"/>
          <p:nvPr/>
        </p:nvSpPr>
        <p:spPr>
          <a:xfrm>
            <a:off x="2048816" y="962034"/>
            <a:ext cx="5832648" cy="278913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fi-FI" spc="-40" dirty="0"/>
              <a:t>Arvionne mukaan seuraavat kolme kuukautta ovat yrityksessänne?</a:t>
            </a:r>
          </a:p>
        </p:txBody>
      </p:sp>
    </p:spTree>
    <p:extLst>
      <p:ext uri="{BB962C8B-B14F-4D97-AF65-F5344CB8AC3E}">
        <p14:creationId xmlns:p14="http://schemas.microsoft.com/office/powerpoint/2010/main" val="698580732"/>
      </p:ext>
    </p:extLst>
  </p:cSld>
  <p:clrMapOvr>
    <a:masterClrMapping/>
  </p:clrMapOvr>
  <p:transition spd="med"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Ajq246uRr.fpeXiHoBEH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FlGw2M3j2W7GeiIxL7V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Axy0IjQV2fjaelmglsH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pBvpGTuPPj72SKRj4DH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pBvpGTuPPj72SKRj4DH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Ok4z5ZsIcPyJlOGtPIfg"/>
</p:tagLst>
</file>

<file path=ppt/theme/theme1.xml><?xml version="1.0" encoding="utf-8"?>
<a:theme xmlns:a="http://schemas.openxmlformats.org/drawingml/2006/main" name="Teknologiateollisuus_masterdia">
  <a:themeElements>
    <a:clrScheme name="Teknologiateollisuus">
      <a:dk1>
        <a:srgbClr val="29282E"/>
      </a:dk1>
      <a:lt1>
        <a:srgbClr val="FFFFFF"/>
      </a:lt1>
      <a:dk2>
        <a:srgbClr val="29282E"/>
      </a:dk2>
      <a:lt2>
        <a:srgbClr val="FFFFFF"/>
      </a:lt2>
      <a:accent1>
        <a:srgbClr val="0070C0"/>
      </a:accent1>
      <a:accent2>
        <a:srgbClr val="FF00B8"/>
      </a:accent2>
      <a:accent3>
        <a:srgbClr val="85E869"/>
      </a:accent3>
      <a:accent4>
        <a:srgbClr val="FF805C"/>
      </a:accent4>
      <a:accent5>
        <a:srgbClr val="8A0FA6"/>
      </a:accent5>
      <a:accent6>
        <a:srgbClr val="FFFF00"/>
      </a:accent6>
      <a:hlink>
        <a:srgbClr val="0ACFCF"/>
      </a:hlink>
      <a:folHlink>
        <a:srgbClr val="0ACFCF"/>
      </a:folHlink>
    </a:clrScheme>
    <a:fontScheme name="Teknologiateollisuus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</a:ln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>
          <a:defRPr/>
        </a:defPPr>
      </a:lstStyle>
    </a:spDef>
    <a:lnDef>
      <a:spPr>
        <a:ln w="1905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pc="-4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Tekno_FI_2016" id="{20EA1341-EE32-433B-BC03-FE23A0136C67}" vid="{91854BC2-7349-49C3-92B6-AE41D831ABA0}"/>
    </a:ext>
  </a:extLst>
</a:theme>
</file>

<file path=ppt/theme/theme2.xml><?xml version="1.0" encoding="utf-8"?>
<a:theme xmlns:a="http://schemas.openxmlformats.org/drawingml/2006/main" name="1_Accenture aug2016">
  <a:themeElements>
    <a:clrScheme name="Custom 8">
      <a:dk1>
        <a:srgbClr val="000000"/>
      </a:dk1>
      <a:lt1>
        <a:srgbClr val="FFFFFF"/>
      </a:lt1>
      <a:dk2>
        <a:srgbClr val="919191"/>
      </a:dk2>
      <a:lt2>
        <a:srgbClr val="FF0000"/>
      </a:lt2>
      <a:accent1>
        <a:srgbClr val="FF9128"/>
      </a:accent1>
      <a:accent2>
        <a:srgbClr val="FE3C0F"/>
      </a:accent2>
      <a:accent3>
        <a:srgbClr val="FF0000"/>
      </a:accent3>
      <a:accent4>
        <a:srgbClr val="BC001D"/>
      </a:accent4>
      <a:accent5>
        <a:srgbClr val="920026"/>
      </a:accent5>
      <a:accent6>
        <a:srgbClr val="710011"/>
      </a:accent6>
      <a:hlink>
        <a:srgbClr val="FF0000"/>
      </a:hlink>
      <a:folHlink>
        <a:srgbClr val="710011"/>
      </a:folHlink>
    </a:clrScheme>
    <a:fontScheme name="Arial Black-Arial">
      <a:majorFont>
        <a:latin typeface="Arial Black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>
            <a:lumMod val="60000"/>
            <a:lumOff val="40000"/>
          </a:schemeClr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txDef>
      <a:spPr/>
      <a:bodyPr vert="horz" wrap="square" lIns="0" tIns="0" rIns="0" bIns="0" rtlCol="0">
        <a:noAutofit/>
      </a:bodyPr>
      <a:lstStyle>
        <a:defPPr>
          <a:defRPr sz="1200" dirty="0" err="1"/>
        </a:defPPr>
      </a:lstStyle>
    </a:txDef>
  </a:objectDefaults>
  <a:extraClrSchemeLst/>
  <a:extLst>
    <a:ext uri="{05A4C25C-085E-4340-85A3-A5531E510DB2}">
      <thm15:themeFamily xmlns:thm15="http://schemas.microsoft.com/office/thememl/2012/main" name="200305 Strategic BD approach for Nordics MU - FOR DISCUSSION - v2  -  Read-Only" id="{AA9A4D4A-1FF2-4B35-AF13-9182F4DAE34F}" vid="{51B938EA-64D2-4EA8-B1E9-1C8E57B71BC1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Override1.xml><?xml version="1.0" encoding="utf-8"?>
<a:themeOverride xmlns:a="http://schemas.openxmlformats.org/drawingml/2006/main">
  <a:clrScheme name="Teknologiateollisuus">
    <a:dk1>
      <a:srgbClr val="002664"/>
    </a:dk1>
    <a:lt1>
      <a:srgbClr val="FFFFFF"/>
    </a:lt1>
    <a:dk2>
      <a:srgbClr val="002664"/>
    </a:dk2>
    <a:lt2>
      <a:srgbClr val="D7D3C7"/>
    </a:lt2>
    <a:accent1>
      <a:srgbClr val="822433"/>
    </a:accent1>
    <a:accent2>
      <a:srgbClr val="002664"/>
    </a:accent2>
    <a:accent3>
      <a:srgbClr val="00A1DE"/>
    </a:accent3>
    <a:accent4>
      <a:srgbClr val="D95E16"/>
    </a:accent4>
    <a:accent5>
      <a:srgbClr val="FFBC3D"/>
    </a:accent5>
    <a:accent6>
      <a:srgbClr val="A2AD00"/>
    </a:accent6>
    <a:hlink>
      <a:srgbClr val="A2AD00"/>
    </a:hlink>
    <a:folHlink>
      <a:srgbClr val="00A1DE"/>
    </a:folHlink>
  </a:clrScheme>
  <a:fontScheme name="5nuolen_vaakaKANSI_SUOMI">
    <a:majorFont>
      <a:latin typeface="Arial"/>
      <a:ea typeface="Arial Unicode MS"/>
      <a:cs typeface="Arial Unicode MS"/>
    </a:majorFont>
    <a:minorFont>
      <a:latin typeface="Arial"/>
      <a:ea typeface="Arial Unicode MS"/>
      <a:cs typeface="Arial Unicode MS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f4015653-d442-4718-8e0e-140bab151380">
      <UserInfo>
        <DisplayName>Forsman Daniel</DisplayName>
        <AccountId>38</AccountId>
        <AccountType/>
      </UserInfo>
    </SharedWithUsers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Asiakirja" ma:contentTypeID="0x010100B54E2ACC82FC5948B3BC53EE2688E412" ma:contentTypeVersion="11" ma:contentTypeDescription="Luo uusi asiakirja." ma:contentTypeScope="" ma:versionID="5fda56d5065e715db5d1a84803b3c218">
  <xsd:schema xmlns:xsd="http://www.w3.org/2001/XMLSchema" xmlns:xs="http://www.w3.org/2001/XMLSchema" xmlns:p="http://schemas.microsoft.com/office/2006/metadata/properties" xmlns:ns3="18888a3a-9613-4736-b8cf-f212d38d32e5" xmlns:ns4="f4015653-d442-4718-8e0e-140bab151380" targetNamespace="http://schemas.microsoft.com/office/2006/metadata/properties" ma:root="true" ma:fieldsID="03e223eeee9631e49b4eb743440104a7" ns3:_="" ns4:_="">
    <xsd:import namespace="18888a3a-9613-4736-b8cf-f212d38d32e5"/>
    <xsd:import namespace="f4015653-d442-4718-8e0e-140bab151380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Location" minOccurs="0"/>
                <xsd:element ref="ns3:MediaServiceGenerationTime" minOccurs="0"/>
                <xsd:element ref="ns3:MediaServiceEventHashCode" minOccurs="0"/>
                <xsd:element ref="ns3:MediaServiceAutoTags" minOccurs="0"/>
                <xsd:element ref="ns3:MediaServiceOCR" minOccurs="0"/>
                <xsd:element ref="ns4:SharedWithUsers" minOccurs="0"/>
                <xsd:element ref="ns4:SharedWithDetails" minOccurs="0"/>
                <xsd:element ref="ns4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8888a3a-9613-4736-b8cf-f212d38d32e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1" nillable="true" ma:displayName="Location" ma:internalName="MediaServiceLocation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4015653-d442-4718-8e0e-140bab151380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Jaettu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Jakamisen tiedot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8" nillable="true" ma:displayName="Jakamisvihjeen hajautus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Sisältölaji"/>
        <xsd:element ref="dc:title" minOccurs="0" maxOccurs="1" ma:index="4" ma:displayName="Otsikk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159B844-F195-4D26-97DD-6E2B728D2A0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43AC004-C085-4D53-BC3A-BFB6D15CF169}">
  <ds:schemaRefs>
    <ds:schemaRef ds:uri="http://schemas.microsoft.com/office/2006/metadata/properties"/>
    <ds:schemaRef ds:uri="http://schemas.microsoft.com/office/infopath/2007/PartnerControls"/>
    <ds:schemaRef ds:uri="f4015653-d442-4718-8e0e-140bab151380"/>
  </ds:schemaRefs>
</ds:datastoreItem>
</file>

<file path=customXml/itemProps3.xml><?xml version="1.0" encoding="utf-8"?>
<ds:datastoreItem xmlns:ds="http://schemas.openxmlformats.org/officeDocument/2006/customXml" ds:itemID="{0EA2ECDA-83CE-4AD3-BC65-9F6821763B3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8888a3a-9613-4736-b8cf-f212d38d32e5"/>
    <ds:schemaRef ds:uri="f4015653-d442-4718-8e0e-140bab15138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6429</TotalTime>
  <Words>999</Words>
  <Application>Microsoft Office PowerPoint</Application>
  <PresentationFormat>Näytössä katseltava esitys (16:9)</PresentationFormat>
  <Paragraphs>231</Paragraphs>
  <Slides>18</Slides>
  <Notes>6</Notes>
  <HiddenSlides>0</HiddenSlides>
  <MMClips>0</MMClips>
  <ScaleCrop>false</ScaleCrop>
  <HeadingPairs>
    <vt:vector size="8" baseType="variant">
      <vt:variant>
        <vt:lpstr>Käytetyt fontit</vt:lpstr>
      </vt:variant>
      <vt:variant>
        <vt:i4>4</vt:i4>
      </vt:variant>
      <vt:variant>
        <vt:lpstr>Teema</vt:lpstr>
      </vt:variant>
      <vt:variant>
        <vt:i4>2</vt:i4>
      </vt:variant>
      <vt:variant>
        <vt:lpstr>Upotetut OLE-palvelimet</vt:lpstr>
      </vt:variant>
      <vt:variant>
        <vt:i4>2</vt:i4>
      </vt:variant>
      <vt:variant>
        <vt:lpstr>Dian otsikot</vt:lpstr>
      </vt:variant>
      <vt:variant>
        <vt:i4>18</vt:i4>
      </vt:variant>
    </vt:vector>
  </HeadingPairs>
  <TitlesOfParts>
    <vt:vector size="26" baseType="lpstr">
      <vt:lpstr>Arial</vt:lpstr>
      <vt:lpstr>Arial Black</vt:lpstr>
      <vt:lpstr>Arial Bold</vt:lpstr>
      <vt:lpstr>Verdana</vt:lpstr>
      <vt:lpstr>Teknologiateollisuus_masterdia</vt:lpstr>
      <vt:lpstr>1_Accenture aug2016</vt:lpstr>
      <vt:lpstr>think-cell Slide</vt:lpstr>
      <vt:lpstr>Macrobond document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esitys</dc:title>
  <dc:creator>Rautaporras Petteri</dc:creator>
  <cp:keywords>Teknologiateollisuus_FI</cp:keywords>
  <cp:lastModifiedBy>Rautaporras Petteri</cp:lastModifiedBy>
  <cp:revision>94</cp:revision>
  <cp:lastPrinted>2020-08-06T06:12:28Z</cp:lastPrinted>
  <dcterms:created xsi:type="dcterms:W3CDTF">2019-10-17T09:08:24Z</dcterms:created>
  <dcterms:modified xsi:type="dcterms:W3CDTF">2021-04-28T09:28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vkameleonVerID">
    <vt:lpwstr>482.21.02.003</vt:lpwstr>
  </property>
  <property fmtid="{D5CDD505-2E9C-101B-9397-08002B2CF9AE}" pid="3" name="dvSaved">
    <vt:lpwstr>1</vt:lpwstr>
  </property>
  <property fmtid="{D5CDD505-2E9C-101B-9397-08002B2CF9AE}" pid="4" name="dvLanguage">
    <vt:lpwstr>1035</vt:lpwstr>
  </property>
  <property fmtid="{D5CDD505-2E9C-101B-9397-08002B2CF9AE}" pid="5" name="dvTemplate">
    <vt:lpwstr>Tekno_fi.potx</vt:lpwstr>
  </property>
  <property fmtid="{D5CDD505-2E9C-101B-9397-08002B2CF9AE}" pid="6" name="dvDefinition">
    <vt:lpwstr>23 (dd_default.xml)</vt:lpwstr>
  </property>
  <property fmtid="{D5CDD505-2E9C-101B-9397-08002B2CF9AE}" pid="7" name="dvDefinitionID">
    <vt:lpwstr>23</vt:lpwstr>
  </property>
  <property fmtid="{D5CDD505-2E9C-101B-9397-08002B2CF9AE}" pid="8" name="dvContentFile">
    <vt:lpwstr>dd_default.xml</vt:lpwstr>
  </property>
  <property fmtid="{D5CDD505-2E9C-101B-9397-08002B2CF9AE}" pid="9" name="dvGlobalVerID">
    <vt:lpwstr>482.90.02.003</vt:lpwstr>
  </property>
  <property fmtid="{D5CDD505-2E9C-101B-9397-08002B2CF9AE}" pid="10" name="dvDefinitionVersion">
    <vt:lpwstr>2.1 / 22.1.2015</vt:lpwstr>
  </property>
  <property fmtid="{D5CDD505-2E9C-101B-9397-08002B2CF9AE}" pid="11" name="filename">
    <vt:lpwstr>false</vt:lpwstr>
  </property>
  <property fmtid="{D5CDD505-2E9C-101B-9397-08002B2CF9AE}" pid="12" name="filenameandpath">
    <vt:lpwstr>false</vt:lpwstr>
  </property>
  <property fmtid="{D5CDD505-2E9C-101B-9397-08002B2CF9AE}" pid="13" name="dvPagenumberExist">
    <vt:lpwstr>1</vt:lpwstr>
  </property>
  <property fmtid="{D5CDD505-2E9C-101B-9397-08002B2CF9AE}" pid="14" name="dvAuthorExist">
    <vt:lpwstr>1</vt:lpwstr>
  </property>
  <property fmtid="{D5CDD505-2E9C-101B-9397-08002B2CF9AE}" pid="15" name="dvDateExist">
    <vt:lpwstr>-1</vt:lpwstr>
  </property>
  <property fmtid="{D5CDD505-2E9C-101B-9397-08002B2CF9AE}" pid="16" name="dvCategory">
    <vt:lpwstr>4</vt:lpwstr>
  </property>
  <property fmtid="{D5CDD505-2E9C-101B-9397-08002B2CF9AE}" pid="17" name="dvCategory_2">
    <vt:lpwstr>0</vt:lpwstr>
  </property>
  <property fmtid="{D5CDD505-2E9C-101B-9397-08002B2CF9AE}" pid="18" name="dvSavepath">
    <vt:lpwstr/>
  </property>
  <property fmtid="{D5CDD505-2E9C-101B-9397-08002B2CF9AE}" pid="19" name="dvUsed">
    <vt:lpwstr>1</vt:lpwstr>
  </property>
  <property fmtid="{D5CDD505-2E9C-101B-9397-08002B2CF9AE}" pid="20" name="dvCompany">
    <vt:lpwstr/>
  </property>
  <property fmtid="{D5CDD505-2E9C-101B-9397-08002B2CF9AE}" pid="21" name="dvSite">
    <vt:lpwstr/>
  </property>
  <property fmtid="{D5CDD505-2E9C-101B-9397-08002B2CF9AE}" pid="22" name="dvNumbering">
    <vt:lpwstr>0</vt:lpwstr>
  </property>
  <property fmtid="{D5CDD505-2E9C-101B-9397-08002B2CF9AE}" pid="23" name="dvDUname">
    <vt:lpwstr>Nora Elers</vt:lpwstr>
  </property>
  <property fmtid="{D5CDD505-2E9C-101B-9397-08002B2CF9AE}" pid="24" name="dvDUdepartment">
    <vt:lpwstr/>
  </property>
  <property fmtid="{D5CDD505-2E9C-101B-9397-08002B2CF9AE}" pid="25" name="dvLogoExist">
    <vt:lpwstr>0</vt:lpwstr>
  </property>
  <property fmtid="{D5CDD505-2E9C-101B-9397-08002B2CF9AE}" pid="26" name="dvCurrentlogo">
    <vt:lpwstr/>
  </property>
  <property fmtid="{D5CDD505-2E9C-101B-9397-08002B2CF9AE}" pid="27" name="ContentTypeId">
    <vt:lpwstr>0x010100B54E2ACC82FC5948B3BC53EE2688E412</vt:lpwstr>
  </property>
  <property fmtid="{D5CDD505-2E9C-101B-9397-08002B2CF9AE}" pid="28" name="TyoryhmanNimi">
    <vt:lpwstr>Talous ja tilastot</vt:lpwstr>
  </property>
</Properties>
</file>